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407" r:id="rId2"/>
    <p:sldId id="581" r:id="rId3"/>
    <p:sldId id="561" r:id="rId4"/>
    <p:sldId id="562" r:id="rId5"/>
    <p:sldId id="563" r:id="rId6"/>
    <p:sldId id="565" r:id="rId7"/>
    <p:sldId id="566" r:id="rId8"/>
    <p:sldId id="569" r:id="rId9"/>
    <p:sldId id="570" r:id="rId10"/>
    <p:sldId id="621" r:id="rId11"/>
    <p:sldId id="622" r:id="rId12"/>
    <p:sldId id="582" r:id="rId13"/>
    <p:sldId id="583" r:id="rId14"/>
    <p:sldId id="584" r:id="rId15"/>
    <p:sldId id="629" r:id="rId16"/>
    <p:sldId id="586" r:id="rId17"/>
    <p:sldId id="587" r:id="rId18"/>
    <p:sldId id="589" r:id="rId19"/>
    <p:sldId id="590" r:id="rId20"/>
    <p:sldId id="591" r:id="rId21"/>
    <p:sldId id="593" r:id="rId22"/>
    <p:sldId id="594" r:id="rId23"/>
    <p:sldId id="608" r:id="rId24"/>
    <p:sldId id="595" r:id="rId25"/>
    <p:sldId id="619" r:id="rId26"/>
    <p:sldId id="597" r:id="rId27"/>
    <p:sldId id="598" r:id="rId28"/>
    <p:sldId id="626" r:id="rId29"/>
    <p:sldId id="623" r:id="rId30"/>
    <p:sldId id="624" r:id="rId31"/>
    <p:sldId id="577" r:id="rId32"/>
    <p:sldId id="625" r:id="rId33"/>
    <p:sldId id="617" r:id="rId34"/>
    <p:sldId id="618" r:id="rId35"/>
    <p:sldId id="611" r:id="rId36"/>
    <p:sldId id="612" r:id="rId37"/>
    <p:sldId id="616" r:id="rId38"/>
    <p:sldId id="628" r:id="rId39"/>
    <p:sldId id="605" r:id="rId40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920000"/>
    <a:srgbClr val="500000"/>
    <a:srgbClr val="3A5D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238" autoAdjust="0"/>
    <p:restoredTop sz="89680" autoAdjust="0"/>
  </p:normalViewPr>
  <p:slideViewPr>
    <p:cSldViewPr snapToGrid="0">
      <p:cViewPr varScale="1">
        <p:scale>
          <a:sx n="85" d="100"/>
          <a:sy n="85" d="100"/>
        </p:scale>
        <p:origin x="114" y="44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9917131206447616E-2"/>
          <c:y val="0.22077312171031788"/>
          <c:w val="0.87283747639216247"/>
          <c:h val="0.663830409884928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gradFill flip="none" rotWithShape="1">
              <a:gsLst>
                <a:gs pos="0">
                  <a:srgbClr val="667FAB">
                    <a:shade val="30000"/>
                    <a:satMod val="115000"/>
                  </a:srgbClr>
                </a:gs>
                <a:gs pos="50000">
                  <a:srgbClr val="667FAB">
                    <a:shade val="67500"/>
                    <a:satMod val="115000"/>
                  </a:srgbClr>
                </a:gs>
                <a:gs pos="100000">
                  <a:srgbClr val="667FAB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c:spPr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 formatCode="#,##0">
                  <c:v>210887</c:v>
                </c:pt>
                <c:pt idx="1">
                  <c:v>129376.962</c:v>
                </c:pt>
                <c:pt idx="2">
                  <c:v>29859.111000000001</c:v>
                </c:pt>
                <c:pt idx="3" formatCode="#,##0">
                  <c:v>370123.072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9D-4EE6-A0A0-97EBB55B6B0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4472C4">
                <a:lumMod val="60000"/>
                <a:lumOff val="40000"/>
              </a:srgbClr>
            </a:solidFill>
          </c:spPr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 formatCode="#,##0">
                  <c:v>210151</c:v>
                </c:pt>
                <c:pt idx="1">
                  <c:v>120879.04399999999</c:v>
                </c:pt>
                <c:pt idx="2">
                  <c:v>29664.894</c:v>
                </c:pt>
                <c:pt idx="3" formatCode="#,##0">
                  <c:v>360694.937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9D-4EE6-A0A0-97EBB55B6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378560"/>
        <c:axId val="85380096"/>
        <c:axId val="0"/>
      </c:bar3DChart>
      <c:catAx>
        <c:axId val="85378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defRPr>
            </a:pPr>
            <a:endParaRPr lang="ru-RU"/>
          </a:p>
        </c:txPr>
        <c:crossAx val="85380096"/>
        <c:crosses val="autoZero"/>
        <c:auto val="1"/>
        <c:lblAlgn val="ctr"/>
        <c:lblOffset val="100"/>
        <c:noMultiLvlLbl val="0"/>
      </c:catAx>
      <c:valAx>
        <c:axId val="85380096"/>
        <c:scaling>
          <c:orientation val="minMax"/>
          <c:max val="500000"/>
          <c:min val="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defRPr>
            </a:pPr>
            <a:endParaRPr lang="ru-RU"/>
          </a:p>
        </c:txPr>
        <c:crossAx val="85378560"/>
        <c:crosses val="autoZero"/>
        <c:crossBetween val="between"/>
        <c:majorUnit val="100000"/>
      </c:valAx>
    </c:plotArea>
    <c:legend>
      <c:legendPos val="r"/>
      <c:layout>
        <c:manualLayout>
          <c:xMode val="edge"/>
          <c:yMode val="edge"/>
          <c:x val="0.93389005745859144"/>
          <c:y val="0.29599529127645985"/>
          <c:w val="6.1756845844392221E-2"/>
          <c:h val="0.4148645134001516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228387846334208"/>
          <c:y val="4.0871964601288537E-2"/>
          <c:w val="0.88771612153665791"/>
          <c:h val="0.42210921423762454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4.8361262385807546E-3"/>
                  <c:y val="-0.1061358095501023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 98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4EA-4E65-BD07-B2C032164F44}"/>
                </c:ext>
              </c:extLst>
            </c:dLbl>
            <c:dLbl>
              <c:idx val="1"/>
              <c:layout>
                <c:manualLayout>
                  <c:x val="1.3226993051796629E-2"/>
                  <c:y val="-6.931430525330865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9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4EA-4E65-BD07-B2C032164F44}"/>
                </c:ext>
              </c:extLst>
            </c:dLbl>
            <c:dLbl>
              <c:idx val="2"/>
              <c:layout>
                <c:manualLayout>
                  <c:x val="1.3226993051796629E-2"/>
                  <c:y val="-8.39427942381553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9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4EA-4E65-BD07-B2C032164F44}"/>
                </c:ext>
              </c:extLst>
            </c:dLbl>
            <c:dLbl>
              <c:idx val="3"/>
              <c:layout>
                <c:manualLayout>
                  <c:x val="6.0124130291041083E-3"/>
                  <c:y val="-6.73263232670761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17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4EA-4E65-BD07-B2C032164F44}"/>
                </c:ext>
              </c:extLst>
            </c:dLbl>
            <c:dLbl>
              <c:idx val="4"/>
              <c:layout>
                <c:manualLayout>
                  <c:x val="1.6640654958504147E-3"/>
                  <c:y val="-5.00094709500780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</a:t>
                    </a:r>
                    <a:r>
                      <a:rPr lang="en-US" baseline="0" dirty="0"/>
                      <a:t> 17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4EA-4E65-BD07-B2C032164F44}"/>
                </c:ext>
              </c:extLst>
            </c:dLbl>
            <c:dLbl>
              <c:idx val="5"/>
              <c:layout>
                <c:manualLayout>
                  <c:x val="-2.5330447139486011E-3"/>
                  <c:y val="-0.2099197447517701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3 48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94EA-4E65-BD07-B2C032164F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ТОО «AVC Production»</c:v>
                </c:pt>
                <c:pt idx="1">
                  <c:v>ТОО «НИЦ KRD»</c:v>
                </c:pt>
                <c:pt idx="2">
                  <c:v>ТОО «Ertis Art Servis»</c:v>
                </c:pt>
                <c:pt idx="3">
                  <c:v>ТОО МегаСтройПлюс</c:v>
                </c:pt>
                <c:pt idx="4">
                  <c:v>ТОО НПО Дефектоскопия</c:v>
                </c:pt>
                <c:pt idx="5">
                  <c:v>ТОО «EPCM»</c:v>
                </c:pt>
              </c:strCache>
            </c:strRef>
          </c:cat>
          <c:val>
            <c:numRef>
              <c:f>Лист1!$B$2:$B$7</c:f>
              <c:numCache>
                <c:formatCode>_-* #\ ##0_-;\-* #\ ##0_-;_-* "-"??_-;_-@_-</c:formatCode>
                <c:ptCount val="6"/>
                <c:pt idx="0">
                  <c:v>2988320</c:v>
                </c:pt>
                <c:pt idx="1">
                  <c:v>393200</c:v>
                </c:pt>
                <c:pt idx="2">
                  <c:v>589800</c:v>
                </c:pt>
                <c:pt idx="3">
                  <c:v>1179600</c:v>
                </c:pt>
                <c:pt idx="4">
                  <c:v>1179600</c:v>
                </c:pt>
                <c:pt idx="5">
                  <c:v>13486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4EA-4E65-BD07-B2C032164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84709696"/>
        <c:axId val="584711336"/>
        <c:axId val="0"/>
      </c:bar3DChart>
      <c:catAx>
        <c:axId val="584709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584711336"/>
        <c:crosses val="autoZero"/>
        <c:auto val="1"/>
        <c:lblAlgn val="ctr"/>
        <c:lblOffset val="100"/>
        <c:noMultiLvlLbl val="0"/>
      </c:catAx>
      <c:valAx>
        <c:axId val="584711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58470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accent5">
              <a:lumMod val="50000"/>
            </a:schemeClr>
          </a:solidFill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0919971928093"/>
          <c:y val="0.23414969364227856"/>
          <c:w val="0.73059082110328766"/>
          <c:h val="0.3404415238586092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енщин</c:v>
                </c:pt>
              </c:strCache>
            </c:strRef>
          </c:tx>
          <c:spPr>
            <a:solidFill>
              <a:srgbClr val="2F5597"/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2498</c:v>
                </c:pt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2F-4304-8726-61DA1CF657C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ужчин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199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D4E-4AAC-9A66-8C25CD4CBB08}"/>
                </c:ext>
              </c:extLst>
            </c:dLbl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2498</c:v>
                </c:pt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2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2F-4304-8726-61DA1CF65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110528"/>
        <c:axId val="1"/>
      </c:barChart>
      <c:catAx>
        <c:axId val="100110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38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majorGridlines>
          <c:spPr>
            <a:ln w="9382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ln w="6266">
            <a:noFill/>
          </a:ln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00110528"/>
        <c:crosses val="autoZero"/>
        <c:crossBetween val="between"/>
      </c:valAx>
      <c:spPr>
        <a:noFill/>
        <a:ln w="25333">
          <a:noFill/>
        </a:ln>
      </c:spPr>
    </c:plotArea>
    <c:legend>
      <c:legendPos val="b"/>
      <c:layout>
        <c:manualLayout>
          <c:xMode val="edge"/>
          <c:yMode val="edge"/>
          <c:x val="0.28099716721758894"/>
          <c:y val="0.80530886264795698"/>
          <c:w val="0.5718423345955409"/>
          <c:h val="8.4424298936317199E-2"/>
        </c:manualLayout>
      </c:layout>
      <c:overlay val="0"/>
      <c:spPr>
        <a:noFill/>
        <a:ln w="25070">
          <a:noFill/>
        </a:ln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0031663148539033E-3"/>
          <c:w val="0.96512043324162256"/>
          <c:h val="0.5211931190470072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казатель текучести кадров</c:v>
                </c:pt>
              </c:strCache>
            </c:strRef>
          </c:tx>
          <c:spPr>
            <a:ln w="28102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313756651978135"/>
                  <c:y val="6.71460960855932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5A-4C57-8400-86845B35FACD}"/>
                </c:ext>
              </c:extLst>
            </c:dLbl>
            <c:dLbl>
              <c:idx val="1"/>
              <c:layout>
                <c:manualLayout>
                  <c:x val="-4.8959429344451924E-2"/>
                  <c:y val="-0.12564972939514654"/>
                </c:manualLayout>
              </c:layout>
              <c:spPr>
                <a:noFill/>
                <a:ln w="25061">
                  <a:noFill/>
                </a:ln>
              </c:spPr>
              <c:txPr>
                <a:bodyPr rot="0" vert="horz"/>
                <a:lstStyle/>
                <a:p>
                  <a:pPr algn="l"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335385392908414"/>
                      <c:h val="0.280931087022076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B5A-4C57-8400-86845B35FACD}"/>
                </c:ext>
              </c:extLst>
            </c:dLbl>
            <c:spPr>
              <a:noFill/>
              <a:ln w="25061">
                <a:noFill/>
              </a:ln>
            </c:spPr>
            <c:txPr>
              <a:bodyPr rot="0" vert="horz"/>
              <a:lstStyle/>
              <a:p>
                <a:pPr algn="r"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1 -ое полугодие 2023 года</c:v>
                </c:pt>
                <c:pt idx="1">
                  <c:v>1-ое полугодие 2024 года</c:v>
                </c:pt>
                <c:pt idx="2">
                  <c:v>1-ое полугодие 2025 года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2.8000000000000001E-2</c:v>
                </c:pt>
                <c:pt idx="1">
                  <c:v>2.3E-2</c:v>
                </c:pt>
                <c:pt idx="2">
                  <c:v>2.8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B5A-4C57-8400-86845B35FA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9434064"/>
        <c:axId val="1"/>
      </c:lineChart>
      <c:catAx>
        <c:axId val="148943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368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800" b="1">
                <a:solidFill>
                  <a:srgbClr val="002060"/>
                </a:solidFill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l"/>
        <c:majorGridlines>
          <c:spPr>
            <a:ln w="9368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1489434064"/>
        <c:crosses val="autoZero"/>
        <c:crossBetween val="between"/>
      </c:valAx>
      <c:spPr>
        <a:gradFill flip="none" rotWithShape="1">
          <a:gsLst>
            <a:gs pos="72843">
              <a:srgbClr val="B7D3ED">
                <a:alpha val="0"/>
              </a:srgbClr>
            </a:gs>
            <a:gs pos="71687">
              <a:srgbClr val="B8D4ED"/>
            </a:gs>
            <a:gs pos="69375">
              <a:srgbClr val="BAD5EE"/>
            </a:gs>
            <a:gs pos="64750">
              <a:srgbClr val="BED8EF"/>
            </a:gs>
            <a:gs pos="55500">
              <a:srgbClr val="C7DDF1"/>
            </a:gs>
            <a:gs pos="37000">
              <a:srgbClr val="D9E8F6"/>
            </a:gs>
            <a:gs pos="0">
              <a:schemeClr val="accent1">
                <a:alpha val="0"/>
                <a:lumMod val="1000"/>
                <a:lumOff val="99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774026739574937E-2"/>
          <c:y val="0.12610242218548826"/>
          <c:w val="0.93221680043384569"/>
          <c:h val="0.656291538603541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-ое полугодие 2023г.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740159283383664E-3"/>
                  <c:y val="2.4561518868855027E-2"/>
                </c:manualLayout>
              </c:layout>
              <c:tx>
                <c:rich>
                  <a:bodyPr/>
                  <a:lstStyle/>
                  <a:p>
                    <a:fld id="{D3E1E3E3-82D9-4C2A-8F73-AE741DF3F924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552-4820-AC54-18572BFD48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ереезд по РК</c:v>
                </c:pt>
                <c:pt idx="1">
                  <c:v>переезд в РФ</c:v>
                </c:pt>
                <c:pt idx="2">
                  <c:v>выезд в дальнее зарубежье</c:v>
                </c:pt>
                <c:pt idx="3">
                  <c:v>выход на пенсию</c:v>
                </c:pt>
                <c:pt idx="4">
                  <c:v>выход на пенсию по вр. усл. труда 
(в 55 лет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6</c:v>
                </c:pt>
                <c:pt idx="1">
                  <c:v>6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52-4820-AC54-18572BFD48F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-ое полугодие 2024 г.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ереезд по РК</c:v>
                </c:pt>
                <c:pt idx="1">
                  <c:v>переезд в РФ</c:v>
                </c:pt>
                <c:pt idx="2">
                  <c:v>выезд в дальнее зарубежье</c:v>
                </c:pt>
                <c:pt idx="3">
                  <c:v>выход на пенсию</c:v>
                </c:pt>
                <c:pt idx="4">
                  <c:v>выход на пенсию по вр. усл. труда 
(в 55 лет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7</c:v>
                </c:pt>
                <c:pt idx="1">
                  <c:v>4</c:v>
                </c:pt>
                <c:pt idx="2">
                  <c:v>3</c:v>
                </c:pt>
                <c:pt idx="3">
                  <c:v>2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52-4820-AC54-18572BFD48F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-ое полугодие 2025 г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ереезд по РК</c:v>
                </c:pt>
                <c:pt idx="1">
                  <c:v>переезд в РФ</c:v>
                </c:pt>
                <c:pt idx="2">
                  <c:v>выезд в дальнее зарубежье</c:v>
                </c:pt>
                <c:pt idx="3">
                  <c:v>выход на пенсию</c:v>
                </c:pt>
                <c:pt idx="4">
                  <c:v>выход на пенсию по вр. усл. труда 
(в 55 лет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5</c:v>
                </c:pt>
                <c:pt idx="1">
                  <c:v>2</c:v>
                </c:pt>
                <c:pt idx="2">
                  <c:v>0</c:v>
                </c:pt>
                <c:pt idx="3">
                  <c:v>16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2C-45C1-9BC0-D2B300A4D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9047576"/>
        <c:axId val="589049872"/>
      </c:barChart>
      <c:catAx>
        <c:axId val="589047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2F5597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89049872"/>
        <c:crosses val="autoZero"/>
        <c:auto val="1"/>
        <c:lblAlgn val="ctr"/>
        <c:lblOffset val="100"/>
        <c:noMultiLvlLbl val="0"/>
      </c:catAx>
      <c:valAx>
        <c:axId val="58904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89047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0405751100319E-2"/>
          <c:y val="0.89280192778913448"/>
          <c:w val="0.8218054297669819"/>
          <c:h val="0.104437153536559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rgbClr val="0070C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b="0" i="0" baseline="0" dirty="0">
                <a:solidFill>
                  <a:srgbClr val="0070C0"/>
                </a:solidFill>
                <a:effectLst/>
              </a:rPr>
              <a:t>2024-2025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жылдардағы</a:t>
            </a:r>
            <a:r>
              <a:rPr lang="ru-RU" sz="1200" b="0" i="0" baseline="0" dirty="0">
                <a:solidFill>
                  <a:srgbClr val="0070C0"/>
                </a:solidFill>
                <a:effectLst/>
              </a:rPr>
              <a:t>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құрылымдық</a:t>
            </a:r>
            <a:r>
              <a:rPr lang="ru-RU" sz="1200" b="0" i="0" baseline="0" dirty="0">
                <a:solidFill>
                  <a:srgbClr val="0070C0"/>
                </a:solidFill>
                <a:effectLst/>
              </a:rPr>
              <a:t>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бөлімшелер</a:t>
            </a:r>
            <a:r>
              <a:rPr lang="ru-RU" sz="1200" b="0" i="0" baseline="0" dirty="0">
                <a:solidFill>
                  <a:srgbClr val="0070C0"/>
                </a:solidFill>
                <a:effectLst/>
              </a:rPr>
              <a:t>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бөлінісіндегі</a:t>
            </a:r>
            <a:r>
              <a:rPr lang="ru-RU" sz="1200" b="0" i="0" baseline="0" dirty="0">
                <a:solidFill>
                  <a:srgbClr val="0070C0"/>
                </a:solidFill>
                <a:effectLst/>
              </a:rPr>
              <a:t>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бұзушылықтар</a:t>
            </a:r>
            <a:r>
              <a:rPr lang="ru-RU" sz="1200" b="0" i="0" baseline="0" dirty="0">
                <a:solidFill>
                  <a:srgbClr val="0070C0"/>
                </a:solidFill>
                <a:effectLst/>
              </a:rPr>
              <a:t> </a:t>
            </a:r>
            <a:r>
              <a:rPr lang="ru-RU" sz="1200" b="0" i="0" baseline="0" dirty="0" err="1">
                <a:solidFill>
                  <a:srgbClr val="0070C0"/>
                </a:solidFill>
                <a:effectLst/>
              </a:rPr>
              <a:t>динамикасы</a:t>
            </a:r>
            <a:endParaRPr lang="ru-RU" sz="1200" dirty="0">
              <a:solidFill>
                <a:srgbClr val="0070C0"/>
              </a:solidFill>
              <a:effectLst/>
            </a:endParaRPr>
          </a:p>
        </c:rich>
      </c:tx>
      <c:layout>
        <c:manualLayout>
          <c:xMode val="edge"/>
          <c:yMode val="edge"/>
          <c:x val="0.20671649332080444"/>
          <c:y val="4.14839346972824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rgbClr val="0070C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7679458718741068E-2"/>
          <c:y val="0.13208153020656827"/>
          <c:w val="0.91232058364266877"/>
          <c:h val="0.643463889857023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-ое полугодие 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2C2-47E3-8A39-3E2F10549B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C2-47E3-8A39-3E2F10549B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C2-47E3-8A39-3E2F10549B3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C2-47E3-8A39-3E2F10549B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ППН</c:v>
                </c:pt>
                <c:pt idx="1">
                  <c:v>ПГПН</c:v>
                </c:pt>
                <c:pt idx="2">
                  <c:v>ЦА</c:v>
                </c:pt>
                <c:pt idx="3">
                  <c:v>ЗУ</c:v>
                </c:pt>
                <c:pt idx="4">
                  <c:v>ЭЦ</c:v>
                </c:pt>
                <c:pt idx="5">
                  <c:v>ЦПВС</c:v>
                </c:pt>
                <c:pt idx="6">
                  <c:v>СЛ</c:v>
                </c:pt>
                <c:pt idx="7">
                  <c:v>КИПиА</c:v>
                </c:pt>
                <c:pt idx="8">
                  <c:v>РСМЦ</c:v>
                </c:pt>
                <c:pt idx="9">
                  <c:v>РМЦ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C2-47E3-8A39-3E2F10549B3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-ое полугодие 2025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ППН</c:v>
                </c:pt>
                <c:pt idx="1">
                  <c:v>ПГПН</c:v>
                </c:pt>
                <c:pt idx="2">
                  <c:v>ЦА</c:v>
                </c:pt>
                <c:pt idx="3">
                  <c:v>ЗУ</c:v>
                </c:pt>
                <c:pt idx="4">
                  <c:v>ЭЦ</c:v>
                </c:pt>
                <c:pt idx="5">
                  <c:v>ЦПВС</c:v>
                </c:pt>
                <c:pt idx="6">
                  <c:v>СЛ</c:v>
                </c:pt>
                <c:pt idx="7">
                  <c:v>КИПиА</c:v>
                </c:pt>
                <c:pt idx="8">
                  <c:v>РСМЦ</c:v>
                </c:pt>
                <c:pt idx="9">
                  <c:v>РМЦ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1">
                  <c:v>7</c:v>
                </c:pt>
                <c:pt idx="2">
                  <c:v>3</c:v>
                </c:pt>
                <c:pt idx="3">
                  <c:v>5</c:v>
                </c:pt>
                <c:pt idx="4">
                  <c:v>5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2C2-47E3-8A39-3E2F10549B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503104"/>
        <c:axId val="77513088"/>
      </c:barChart>
      <c:catAx>
        <c:axId val="7750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13088"/>
        <c:crosses val="autoZero"/>
        <c:auto val="1"/>
        <c:lblAlgn val="ctr"/>
        <c:lblOffset val="100"/>
        <c:noMultiLvlLbl val="0"/>
      </c:catAx>
      <c:valAx>
        <c:axId val="77513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03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39B2E1-2D5F-42CC-BB05-B29749A5B3C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ru-RU"/>
        </a:p>
      </dgm:t>
    </dgm:pt>
    <dgm:pt modelId="{DCA612CC-7CAC-457F-AC26-A274A23D7A99}">
      <dgm:prSet custT="1"/>
      <dgm:spPr>
        <a:solidFill>
          <a:srgbClr val="2F5597"/>
        </a:solidFill>
      </dgm:spPr>
      <dgm:t>
        <a:bodyPr/>
        <a:lstStyle/>
        <a:p>
          <a:r>
            <a:rPr lang="ru-RU" sz="1000" dirty="0" err="1"/>
            <a:t>Мүгедек</a:t>
          </a:r>
          <a:r>
            <a:rPr lang="ru-RU" sz="1000" dirty="0"/>
            <a:t> </a:t>
          </a:r>
          <a:r>
            <a:rPr lang="ru-RU" sz="1000" dirty="0" err="1"/>
            <a:t>балалары</a:t>
          </a:r>
          <a:r>
            <a:rPr lang="ru-RU" sz="1000" dirty="0"/>
            <a:t> бар </a:t>
          </a:r>
          <a:r>
            <a:rPr lang="ru-RU" sz="1000" dirty="0" err="1"/>
            <a:t>жұмыскерлерге</a:t>
          </a:r>
          <a:r>
            <a:rPr lang="ru-RU" sz="1000" dirty="0"/>
            <a:t> </a:t>
          </a:r>
          <a:r>
            <a:rPr lang="ru-RU" sz="1000" dirty="0" err="1"/>
            <a:t>ұзақтығы</a:t>
          </a:r>
          <a:r>
            <a:rPr lang="ru-RU" sz="1000" dirty="0"/>
            <a:t> </a:t>
          </a:r>
          <a:r>
            <a:rPr lang="ru-RU" sz="1000" dirty="0" err="1"/>
            <a:t>кемінде</a:t>
          </a:r>
          <a:r>
            <a:rPr lang="ru-RU" sz="1000" dirty="0"/>
            <a:t> </a:t>
          </a:r>
          <a:r>
            <a:rPr lang="ru-RU" sz="1000" dirty="0" err="1"/>
            <a:t>күнтізбелік</a:t>
          </a:r>
          <a:r>
            <a:rPr lang="ru-RU" sz="1000" dirty="0"/>
            <a:t> 2 </a:t>
          </a:r>
          <a:r>
            <a:rPr lang="ru-RU" sz="1000" dirty="0" err="1"/>
            <a:t>күнді</a:t>
          </a:r>
          <a:r>
            <a:rPr lang="ru-RU" sz="1000" dirty="0"/>
            <a:t> </a:t>
          </a:r>
          <a:r>
            <a:rPr lang="ru-RU" sz="1000" dirty="0" err="1"/>
            <a:t>құрайтын</a:t>
          </a:r>
          <a:r>
            <a:rPr lang="ru-RU" sz="1000" dirty="0"/>
            <a:t> </a:t>
          </a:r>
          <a:r>
            <a:rPr lang="ru-RU" sz="1000" dirty="0" err="1"/>
            <a:t>еңбекақы</a:t>
          </a:r>
          <a:r>
            <a:rPr lang="ru-RU" sz="1000" dirty="0"/>
            <a:t> </a:t>
          </a:r>
          <a:r>
            <a:rPr lang="ru-RU" sz="1000" dirty="0" err="1"/>
            <a:t>сақталатын</a:t>
          </a:r>
          <a:r>
            <a:rPr lang="ru-RU" sz="1000" dirty="0"/>
            <a:t> </a:t>
          </a:r>
          <a:r>
            <a:rPr lang="ru-RU" sz="1000" dirty="0" err="1"/>
            <a:t>әлеуметтік</a:t>
          </a:r>
          <a:r>
            <a:rPr lang="ru-RU" sz="1000" dirty="0"/>
            <a:t> </a:t>
          </a:r>
          <a:r>
            <a:rPr lang="ru-RU" sz="1000" dirty="0" err="1"/>
            <a:t>еңбек</a:t>
          </a:r>
          <a:r>
            <a:rPr lang="ru-RU" sz="1000" dirty="0"/>
            <a:t> </a:t>
          </a:r>
          <a:r>
            <a:rPr lang="ru-RU" sz="1000" dirty="0" err="1"/>
            <a:t>демалысы</a:t>
          </a:r>
          <a:r>
            <a:rPr lang="ru-RU" sz="1000" dirty="0"/>
            <a:t>.</a:t>
          </a:r>
        </a:p>
      </dgm:t>
    </dgm:pt>
    <dgm:pt modelId="{211DE629-0E50-4CB0-B44C-493ADA78034E}" type="parTrans" cxnId="{94C6B16B-1D40-4D70-82E2-1EC558F2A675}">
      <dgm:prSet/>
      <dgm:spPr/>
      <dgm:t>
        <a:bodyPr/>
        <a:lstStyle/>
        <a:p>
          <a:endParaRPr lang="ru-RU"/>
        </a:p>
      </dgm:t>
    </dgm:pt>
    <dgm:pt modelId="{B2746B41-6190-42CB-8DDA-E9BF5083A6DE}" type="sibTrans" cxnId="{94C6B16B-1D40-4D70-82E2-1EC558F2A675}">
      <dgm:prSet/>
      <dgm:spPr/>
      <dgm:t>
        <a:bodyPr/>
        <a:lstStyle/>
        <a:p>
          <a:endParaRPr lang="ru-RU"/>
        </a:p>
      </dgm:t>
    </dgm:pt>
    <dgm:pt modelId="{7AD6B486-5C4C-467A-B09F-554AC66C296F}">
      <dgm:prSet custT="1"/>
      <dgm:spPr>
        <a:solidFill>
          <a:srgbClr val="2F5597"/>
        </a:solidFill>
      </dgm:spPr>
      <dgm:t>
        <a:bodyPr/>
        <a:lstStyle/>
        <a:p>
          <a:pPr lvl="0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00" dirty="0" err="1"/>
            <a:t>Мүгедектігі</a:t>
          </a:r>
          <a:r>
            <a:rPr lang="ru-RU" sz="1000" dirty="0"/>
            <a:t> бар </a:t>
          </a:r>
          <a:r>
            <a:rPr lang="ru-RU" sz="1000" dirty="0" err="1"/>
            <a:t>адамдар</a:t>
          </a:r>
          <a:r>
            <a:rPr lang="ru-RU" sz="1000" dirty="0"/>
            <a:t> </a:t>
          </a:r>
          <a:r>
            <a:rPr lang="ru-RU" sz="1000" dirty="0" err="1"/>
            <a:t>күніне</a:t>
          </a:r>
          <a:r>
            <a:rPr lang="ru-RU" sz="1000" dirty="0"/>
            <a:t> </a:t>
          </a:r>
          <a:r>
            <a:rPr lang="ru-RU" sz="1000" dirty="0" err="1"/>
            <a:t>мүгедектігі</a:t>
          </a:r>
          <a:r>
            <a:rPr lang="ru-RU" sz="1000" dirty="0"/>
            <a:t> бар </a:t>
          </a:r>
          <a:r>
            <a:rPr lang="ru-RU" sz="1000" dirty="0" err="1"/>
            <a:t>балалары</a:t>
          </a:r>
          <a:r>
            <a:rPr lang="ru-RU" sz="1000" dirty="0"/>
            <a:t> бар </a:t>
          </a:r>
          <a:r>
            <a:rPr lang="ru-RU" sz="1000" dirty="0" err="1"/>
            <a:t>жұмыскерлердің</a:t>
          </a:r>
          <a:r>
            <a:rPr lang="ru-RU" sz="1000" dirty="0"/>
            <a:t> </a:t>
          </a:r>
          <a:r>
            <a:rPr lang="ru-RU" sz="1000" dirty="0" err="1"/>
            <a:t>әр</a:t>
          </a:r>
          <a:r>
            <a:rPr lang="ru-RU" sz="1000" dirty="0"/>
            <a:t> </a:t>
          </a:r>
          <a:r>
            <a:rPr lang="ru-RU" sz="1000" dirty="0" err="1"/>
            <a:t>баласына</a:t>
          </a:r>
          <a:r>
            <a:rPr lang="ru-RU" sz="1000" dirty="0"/>
            <a:t> 40 АЕК</a:t>
          </a:r>
          <a:endParaRPr lang="ru-RU" sz="1000" dirty="0">
            <a:solidFill>
              <a:schemeClr val="bg1"/>
            </a:solidFill>
          </a:endParaRPr>
        </a:p>
      </dgm:t>
    </dgm:pt>
    <dgm:pt modelId="{B8B90255-482B-4186-B57C-A497A0DD5AE8}" type="parTrans" cxnId="{4B382837-ED5B-4B07-8DC2-83C973E48AD9}">
      <dgm:prSet/>
      <dgm:spPr/>
      <dgm:t>
        <a:bodyPr/>
        <a:lstStyle/>
        <a:p>
          <a:endParaRPr lang="ru-RU"/>
        </a:p>
      </dgm:t>
    </dgm:pt>
    <dgm:pt modelId="{817B11C8-0639-4520-9C3F-6CAE99A4ED00}" type="sibTrans" cxnId="{4B382837-ED5B-4B07-8DC2-83C973E48AD9}">
      <dgm:prSet/>
      <dgm:spPr/>
      <dgm:t>
        <a:bodyPr/>
        <a:lstStyle/>
        <a:p>
          <a:endParaRPr lang="ru-RU"/>
        </a:p>
      </dgm:t>
    </dgm:pt>
    <dgm:pt modelId="{8C7BD61E-1230-44E8-9873-AD5535FA1A78}">
      <dgm:prSet custT="1"/>
      <dgm:spPr>
        <a:solidFill>
          <a:srgbClr val="2F5597"/>
        </a:solidFill>
      </dgm:spPr>
      <dgm:t>
        <a:bodyPr/>
        <a:lstStyle/>
        <a:p>
          <a:pPr lvl="0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dirty="0"/>
            <a:t>4 (</a:t>
          </a:r>
          <a:r>
            <a:rPr lang="ru-RU" sz="1000" dirty="0" err="1"/>
            <a:t>төрт</a:t>
          </a:r>
          <a:r>
            <a:rPr lang="ru-RU" sz="1000" dirty="0"/>
            <a:t>) </a:t>
          </a:r>
          <a:r>
            <a:rPr lang="ru-RU" sz="1000" dirty="0" err="1"/>
            <a:t>және</a:t>
          </a:r>
          <a:r>
            <a:rPr lang="ru-RU" sz="1000" dirty="0"/>
            <a:t> </a:t>
          </a:r>
          <a:r>
            <a:rPr lang="ru-RU" sz="1000" dirty="0" err="1"/>
            <a:t>одан</a:t>
          </a:r>
          <a:r>
            <a:rPr lang="ru-RU" sz="1000" dirty="0"/>
            <a:t> да </a:t>
          </a:r>
          <a:r>
            <a:rPr lang="ru-RU" sz="1000" dirty="0" err="1"/>
            <a:t>көп</a:t>
          </a:r>
          <a:r>
            <a:rPr lang="ru-RU" sz="1000" dirty="0"/>
            <a:t> </a:t>
          </a:r>
          <a:r>
            <a:rPr lang="ru-RU" sz="1000" dirty="0" err="1"/>
            <a:t>балаларды</a:t>
          </a:r>
          <a:r>
            <a:rPr lang="ru-RU" sz="1000" dirty="0"/>
            <a:t>, </a:t>
          </a:r>
          <a:r>
            <a:rPr lang="ru-RU" sz="1000" dirty="0" err="1"/>
            <a:t>мүгедектігі</a:t>
          </a:r>
          <a:r>
            <a:rPr lang="ru-RU" sz="1000" dirty="0"/>
            <a:t> бар </a:t>
          </a:r>
          <a:r>
            <a:rPr lang="ru-RU" sz="1000" dirty="0" err="1"/>
            <a:t>балаларды</a:t>
          </a:r>
          <a:r>
            <a:rPr lang="ru-RU" sz="1000" dirty="0"/>
            <a:t> </a:t>
          </a:r>
          <a:r>
            <a:rPr lang="ru-RU" sz="1000" dirty="0" err="1"/>
            <a:t>тәрбиелеп</a:t>
          </a:r>
          <a:r>
            <a:rPr lang="ru-RU" sz="1000" dirty="0"/>
            <a:t> </a:t>
          </a:r>
          <a:r>
            <a:rPr lang="ru-RU" sz="1000" dirty="0" err="1"/>
            <a:t>отырған</a:t>
          </a:r>
          <a:r>
            <a:rPr lang="ru-RU" sz="1000" dirty="0"/>
            <a:t> </a:t>
          </a:r>
          <a:r>
            <a:rPr lang="ru-RU" sz="1000" dirty="0" err="1"/>
            <a:t>жұмыскерлер</a:t>
          </a:r>
          <a:r>
            <a:rPr lang="ru-RU" sz="1000" dirty="0"/>
            <a:t> </a:t>
          </a:r>
          <a:r>
            <a:rPr lang="ru-RU" sz="1000" dirty="0" err="1"/>
            <a:t>үшін</a:t>
          </a:r>
          <a:r>
            <a:rPr lang="ru-RU" sz="1000" dirty="0"/>
            <a:t> </a:t>
          </a:r>
          <a:r>
            <a:rPr lang="ru-RU" sz="1000" dirty="0" err="1"/>
            <a:t>оларға</a:t>
          </a:r>
          <a:r>
            <a:rPr lang="ru-RU" sz="1000" dirty="0"/>
            <a:t> </a:t>
          </a:r>
          <a:r>
            <a:rPr lang="ru-RU" sz="1000" dirty="0" err="1"/>
            <a:t>қолайлы</a:t>
          </a:r>
          <a:r>
            <a:rPr lang="ru-RU" sz="1000" dirty="0"/>
            <a:t> </a:t>
          </a:r>
          <a:r>
            <a:rPr lang="ru-RU" sz="1000" dirty="0" err="1"/>
            <a:t>уақытта</a:t>
          </a:r>
          <a:r>
            <a:rPr lang="ru-RU" sz="1000" dirty="0"/>
            <a:t> </a:t>
          </a:r>
          <a:r>
            <a:rPr lang="ru-RU" sz="1000" dirty="0" err="1"/>
            <a:t>жыл</a:t>
          </a:r>
          <a:r>
            <a:rPr lang="ru-RU" sz="1000" dirty="0"/>
            <a:t> </a:t>
          </a:r>
          <a:r>
            <a:rPr lang="ru-RU" sz="1000" dirty="0" err="1"/>
            <a:t>сайынғы</a:t>
          </a:r>
          <a:r>
            <a:rPr lang="ru-RU" sz="1000" dirty="0"/>
            <a:t> </a:t>
          </a:r>
          <a:r>
            <a:rPr lang="ru-RU" sz="1000" dirty="0" err="1"/>
            <a:t>ақылы</a:t>
          </a:r>
          <a:r>
            <a:rPr lang="ru-RU" sz="1000" dirty="0"/>
            <a:t> </a:t>
          </a:r>
          <a:r>
            <a:rPr lang="ru-RU" sz="1000" dirty="0" err="1"/>
            <a:t>еңбек</a:t>
          </a:r>
          <a:r>
            <a:rPr lang="ru-RU" sz="1000" dirty="0"/>
            <a:t> </a:t>
          </a:r>
          <a:r>
            <a:rPr lang="ru-RU" sz="1000" dirty="0" err="1"/>
            <a:t>демалыстарын</a:t>
          </a:r>
          <a:r>
            <a:rPr lang="ru-RU" sz="1000" dirty="0"/>
            <a:t> </a:t>
          </a:r>
          <a:r>
            <a:rPr lang="ru-RU" sz="1000" dirty="0" err="1"/>
            <a:t>пайдалануға</a:t>
          </a:r>
          <a:r>
            <a:rPr lang="ru-RU" sz="1000" dirty="0"/>
            <a:t> </a:t>
          </a:r>
          <a:r>
            <a:rPr lang="ru-RU" sz="1000" dirty="0" err="1"/>
            <a:t>басымдық</a:t>
          </a:r>
          <a:r>
            <a:rPr lang="ru-RU" sz="1000" dirty="0"/>
            <a:t> </a:t>
          </a:r>
          <a:r>
            <a:rPr lang="ru-RU" sz="1000" dirty="0" err="1"/>
            <a:t>құқық</a:t>
          </a:r>
          <a:endParaRPr lang="ru-RU" sz="1000" dirty="0">
            <a:solidFill>
              <a:schemeClr val="bg1"/>
            </a:solidFill>
          </a:endParaRPr>
        </a:p>
      </dgm:t>
    </dgm:pt>
    <dgm:pt modelId="{B364AA03-F24A-4568-BEFF-A0BBF471154A}" type="parTrans" cxnId="{232C3BF4-B121-4F40-8FE3-7F7692A79E2B}">
      <dgm:prSet/>
      <dgm:spPr/>
      <dgm:t>
        <a:bodyPr/>
        <a:lstStyle/>
        <a:p>
          <a:endParaRPr lang="ru-RU"/>
        </a:p>
      </dgm:t>
    </dgm:pt>
    <dgm:pt modelId="{A4F8944B-71F3-44BC-985C-2CEDF66C2653}" type="sibTrans" cxnId="{232C3BF4-B121-4F40-8FE3-7F7692A79E2B}">
      <dgm:prSet/>
      <dgm:spPr/>
      <dgm:t>
        <a:bodyPr/>
        <a:lstStyle/>
        <a:p>
          <a:endParaRPr lang="ru-RU"/>
        </a:p>
      </dgm:t>
    </dgm:pt>
    <dgm:pt modelId="{D6A3374E-8BAE-44EA-9598-8B98FAC9F377}">
      <dgm:prSet custT="1"/>
      <dgm:spPr>
        <a:solidFill>
          <a:srgbClr val="2F5597"/>
        </a:solidFill>
      </dgm:spPr>
      <dgm:t>
        <a:bodyPr/>
        <a:lstStyle/>
        <a:p>
          <a:pPr lvl="0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dirty="0" err="1"/>
            <a:t>Ауғанстан</a:t>
          </a:r>
          <a:r>
            <a:rPr lang="ru-RU" sz="1000" dirty="0"/>
            <a:t> мен </a:t>
          </a:r>
          <a:r>
            <a:rPr lang="ru-RU" sz="1000" dirty="0" err="1"/>
            <a:t>Тәжікстан</a:t>
          </a:r>
          <a:r>
            <a:rPr lang="ru-RU" sz="1000" dirty="0"/>
            <a:t> </a:t>
          </a:r>
          <a:r>
            <a:rPr lang="ru-RU" sz="1000" dirty="0" err="1"/>
            <a:t>аумағындағы</a:t>
          </a:r>
          <a:r>
            <a:rPr lang="ru-RU" sz="1000" dirty="0"/>
            <a:t> </a:t>
          </a:r>
          <a:r>
            <a:rPr lang="ru-RU" sz="1000" dirty="0" err="1"/>
            <a:t>әскери</a:t>
          </a:r>
          <a:r>
            <a:rPr lang="ru-RU" sz="1000" dirty="0"/>
            <a:t> </a:t>
          </a:r>
          <a:r>
            <a:rPr lang="ru-RU" sz="1000" dirty="0" err="1"/>
            <a:t>қимылдарға</a:t>
          </a:r>
          <a:r>
            <a:rPr lang="ru-RU" sz="1000" dirty="0"/>
            <a:t> </a:t>
          </a:r>
          <a:r>
            <a:rPr lang="ru-RU" sz="1000" dirty="0" err="1"/>
            <a:t>және</a:t>
          </a:r>
          <a:r>
            <a:rPr lang="ru-RU" sz="1000" dirty="0"/>
            <a:t> Чернобыль атом </a:t>
          </a:r>
          <a:r>
            <a:rPr lang="ru-RU" sz="1000" dirty="0" err="1"/>
            <a:t>электр</a:t>
          </a:r>
          <a:r>
            <a:rPr lang="ru-RU" sz="1000" dirty="0"/>
            <a:t> </a:t>
          </a:r>
          <a:r>
            <a:rPr lang="ru-RU" sz="1000" dirty="0" err="1"/>
            <a:t>станциясындағы</a:t>
          </a:r>
          <a:r>
            <a:rPr lang="ru-RU" sz="1000" dirty="0"/>
            <a:t> </a:t>
          </a:r>
          <a:r>
            <a:rPr lang="ru-RU" sz="1000" dirty="0" err="1"/>
            <a:t>аварияның</a:t>
          </a:r>
          <a:r>
            <a:rPr lang="ru-RU" sz="1000" dirty="0"/>
            <a:t> </a:t>
          </a:r>
          <a:r>
            <a:rPr lang="ru-RU" sz="1000" dirty="0" err="1"/>
            <a:t>салдарын</a:t>
          </a:r>
          <a:r>
            <a:rPr lang="ru-RU" sz="1000" dirty="0"/>
            <a:t> </a:t>
          </a:r>
          <a:r>
            <a:rPr lang="ru-RU" sz="1000" dirty="0" err="1"/>
            <a:t>жоюға</a:t>
          </a:r>
          <a:r>
            <a:rPr lang="ru-RU" sz="1000" dirty="0"/>
            <a:t> </a:t>
          </a:r>
          <a:r>
            <a:rPr lang="ru-RU" sz="1000" dirty="0" err="1"/>
            <a:t>қатысқан</a:t>
          </a:r>
          <a:r>
            <a:rPr lang="ru-RU" sz="1000" dirty="0"/>
            <a:t> </a:t>
          </a:r>
          <a:r>
            <a:rPr lang="ru-RU" sz="1000" dirty="0" err="1"/>
            <a:t>жұмыскерлерге</a:t>
          </a:r>
          <a:r>
            <a:rPr lang="ru-RU" sz="1000" dirty="0"/>
            <a:t> 20 АЕК.</a:t>
          </a:r>
          <a:endParaRPr lang="ru-RU" sz="1000" dirty="0">
            <a:solidFill>
              <a:schemeClr val="bg1"/>
            </a:solidFill>
          </a:endParaRPr>
        </a:p>
      </dgm:t>
    </dgm:pt>
    <dgm:pt modelId="{3E7CB932-BB55-4FC2-9F20-9BDF7DC76D0E}" type="parTrans" cxnId="{BAC5A257-A95F-477C-9B8A-2A83BBC4A399}">
      <dgm:prSet/>
      <dgm:spPr/>
      <dgm:t>
        <a:bodyPr/>
        <a:lstStyle/>
        <a:p>
          <a:endParaRPr lang="ru-RU"/>
        </a:p>
      </dgm:t>
    </dgm:pt>
    <dgm:pt modelId="{BFDC80A7-FAD3-44D0-9F14-817BDEE00490}" type="sibTrans" cxnId="{BAC5A257-A95F-477C-9B8A-2A83BBC4A399}">
      <dgm:prSet/>
      <dgm:spPr/>
      <dgm:t>
        <a:bodyPr/>
        <a:lstStyle/>
        <a:p>
          <a:endParaRPr lang="ru-RU"/>
        </a:p>
      </dgm:t>
    </dgm:pt>
    <dgm:pt modelId="{0E3C3F52-491C-4C20-BA3D-49F1E84CBB51}" type="pres">
      <dgm:prSet presAssocID="{2F39B2E1-2D5F-42CC-BB05-B29749A5B3CE}" presName="Name0" presStyleCnt="0">
        <dgm:presLayoutVars>
          <dgm:chMax val="7"/>
          <dgm:chPref val="7"/>
          <dgm:dir/>
        </dgm:presLayoutVars>
      </dgm:prSet>
      <dgm:spPr/>
    </dgm:pt>
    <dgm:pt modelId="{4C5D77FB-0098-4720-A520-A8E7BDC2ACD6}" type="pres">
      <dgm:prSet presAssocID="{2F39B2E1-2D5F-42CC-BB05-B29749A5B3CE}" presName="Name1" presStyleCnt="0"/>
      <dgm:spPr/>
    </dgm:pt>
    <dgm:pt modelId="{FFC8CDCE-E9B6-464A-BB8A-F5F1D48E76B0}" type="pres">
      <dgm:prSet presAssocID="{2F39B2E1-2D5F-42CC-BB05-B29749A5B3CE}" presName="cycle" presStyleCnt="0"/>
      <dgm:spPr/>
    </dgm:pt>
    <dgm:pt modelId="{D5A7FE42-4F2A-4B0A-9758-363AF96F2DF8}" type="pres">
      <dgm:prSet presAssocID="{2F39B2E1-2D5F-42CC-BB05-B29749A5B3CE}" presName="srcNode" presStyleLbl="node1" presStyleIdx="0" presStyleCnt="4"/>
      <dgm:spPr/>
    </dgm:pt>
    <dgm:pt modelId="{516A1DA5-E18C-4B64-9BB8-D34E39047AA9}" type="pres">
      <dgm:prSet presAssocID="{2F39B2E1-2D5F-42CC-BB05-B29749A5B3CE}" presName="conn" presStyleLbl="parChTrans1D2" presStyleIdx="0" presStyleCnt="1"/>
      <dgm:spPr/>
    </dgm:pt>
    <dgm:pt modelId="{0EFD210C-2B88-4816-A25E-2235CA9DDA57}" type="pres">
      <dgm:prSet presAssocID="{2F39B2E1-2D5F-42CC-BB05-B29749A5B3CE}" presName="extraNode" presStyleLbl="node1" presStyleIdx="0" presStyleCnt="4"/>
      <dgm:spPr/>
    </dgm:pt>
    <dgm:pt modelId="{6B362365-DDD9-4E00-907C-F3F5EC531F07}" type="pres">
      <dgm:prSet presAssocID="{2F39B2E1-2D5F-42CC-BB05-B29749A5B3CE}" presName="dstNode" presStyleLbl="node1" presStyleIdx="0" presStyleCnt="4"/>
      <dgm:spPr/>
    </dgm:pt>
    <dgm:pt modelId="{651E40C1-712F-407B-89C7-7104627CC253}" type="pres">
      <dgm:prSet presAssocID="{DCA612CC-7CAC-457F-AC26-A274A23D7A99}" presName="text_1" presStyleLbl="node1" presStyleIdx="0" presStyleCnt="4" custScaleY="169614">
        <dgm:presLayoutVars>
          <dgm:bulletEnabled val="1"/>
        </dgm:presLayoutVars>
      </dgm:prSet>
      <dgm:spPr/>
    </dgm:pt>
    <dgm:pt modelId="{871D6666-CE9C-4046-A8AE-FE3BB1C806B6}" type="pres">
      <dgm:prSet presAssocID="{DCA612CC-7CAC-457F-AC26-A274A23D7A99}" presName="accent_1" presStyleCnt="0"/>
      <dgm:spPr/>
    </dgm:pt>
    <dgm:pt modelId="{FC25C25E-AA1B-47D8-8CF1-7B2BBF8C6D5B}" type="pres">
      <dgm:prSet presAssocID="{DCA612CC-7CAC-457F-AC26-A274A23D7A99}" presName="accentRepeatNode" presStyleLbl="solidFgAcc1" presStyleIdx="0" presStyleCnt="4" custScaleX="93499" custScaleY="85852"/>
      <dgm:spPr/>
    </dgm:pt>
    <dgm:pt modelId="{A00DE0BB-1FB6-435E-AB64-9E46DE9EC8DC}" type="pres">
      <dgm:prSet presAssocID="{7AD6B486-5C4C-467A-B09F-554AC66C296F}" presName="text_2" presStyleLbl="node1" presStyleIdx="1" presStyleCnt="4" custScaleY="114704" custLinFactNeighborX="-30" custLinFactNeighborY="15530">
        <dgm:presLayoutVars>
          <dgm:bulletEnabled val="1"/>
        </dgm:presLayoutVars>
      </dgm:prSet>
      <dgm:spPr/>
    </dgm:pt>
    <dgm:pt modelId="{1A583D3F-11CB-4121-B503-97D1AA6D7818}" type="pres">
      <dgm:prSet presAssocID="{7AD6B486-5C4C-467A-B09F-554AC66C296F}" presName="accent_2" presStyleCnt="0"/>
      <dgm:spPr/>
    </dgm:pt>
    <dgm:pt modelId="{0682B057-DEAF-4BF2-BBB3-5BD95CC80918}" type="pres">
      <dgm:prSet presAssocID="{7AD6B486-5C4C-467A-B09F-554AC66C296F}" presName="accentRepeatNode" presStyleLbl="solidFgAcc1" presStyleIdx="1" presStyleCnt="4" custScaleX="104801" custScaleY="96484"/>
      <dgm:spPr/>
    </dgm:pt>
    <dgm:pt modelId="{A707E664-2FAC-45D9-A818-D318C8E7F7C5}" type="pres">
      <dgm:prSet presAssocID="{D6A3374E-8BAE-44EA-9598-8B98FAC9F377}" presName="text_3" presStyleLbl="node1" presStyleIdx="2" presStyleCnt="4">
        <dgm:presLayoutVars>
          <dgm:bulletEnabled val="1"/>
        </dgm:presLayoutVars>
      </dgm:prSet>
      <dgm:spPr/>
    </dgm:pt>
    <dgm:pt modelId="{4BC49609-86CE-4C79-B557-02DC77FC8447}" type="pres">
      <dgm:prSet presAssocID="{D6A3374E-8BAE-44EA-9598-8B98FAC9F377}" presName="accent_3" presStyleCnt="0"/>
      <dgm:spPr/>
    </dgm:pt>
    <dgm:pt modelId="{BE8037E0-BEBB-4B51-BE12-EA2E91A6482C}" type="pres">
      <dgm:prSet presAssocID="{D6A3374E-8BAE-44EA-9598-8B98FAC9F377}" presName="accentRepeatNode" presStyleLbl="solidFgAcc1" presStyleIdx="2" presStyleCnt="4"/>
      <dgm:spPr/>
    </dgm:pt>
    <dgm:pt modelId="{C5B0DFBD-9143-4F53-B8DF-D2FC79BCF283}" type="pres">
      <dgm:prSet presAssocID="{8C7BD61E-1230-44E8-9873-AD5535FA1A78}" presName="text_4" presStyleLbl="node1" presStyleIdx="3" presStyleCnt="4" custScaleY="132443">
        <dgm:presLayoutVars>
          <dgm:bulletEnabled val="1"/>
        </dgm:presLayoutVars>
      </dgm:prSet>
      <dgm:spPr/>
    </dgm:pt>
    <dgm:pt modelId="{1156D709-CA72-4F01-8635-3A24BCF5D1B0}" type="pres">
      <dgm:prSet presAssocID="{8C7BD61E-1230-44E8-9873-AD5535FA1A78}" presName="accent_4" presStyleCnt="0"/>
      <dgm:spPr/>
    </dgm:pt>
    <dgm:pt modelId="{E194C2B9-EBCB-4764-BCE9-774BDF685B80}" type="pres">
      <dgm:prSet presAssocID="{8C7BD61E-1230-44E8-9873-AD5535FA1A78}" presName="accentRepeatNode" presStyleLbl="solidFgAcc1" presStyleIdx="3" presStyleCnt="4"/>
      <dgm:spPr/>
    </dgm:pt>
  </dgm:ptLst>
  <dgm:cxnLst>
    <dgm:cxn modelId="{7DA9E522-A7E2-41B9-A8FF-9FC81CF16D28}" type="presOf" srcId="{D6A3374E-8BAE-44EA-9598-8B98FAC9F377}" destId="{A707E664-2FAC-45D9-A818-D318C8E7F7C5}" srcOrd="0" destOrd="0" presId="urn:microsoft.com/office/officeart/2008/layout/VerticalCurvedList"/>
    <dgm:cxn modelId="{4B382837-ED5B-4B07-8DC2-83C973E48AD9}" srcId="{2F39B2E1-2D5F-42CC-BB05-B29749A5B3CE}" destId="{7AD6B486-5C4C-467A-B09F-554AC66C296F}" srcOrd="1" destOrd="0" parTransId="{B8B90255-482B-4186-B57C-A497A0DD5AE8}" sibTransId="{817B11C8-0639-4520-9C3F-6CAE99A4ED00}"/>
    <dgm:cxn modelId="{D78F583C-FC52-4D35-B592-E5125694267E}" type="presOf" srcId="{DCA612CC-7CAC-457F-AC26-A274A23D7A99}" destId="{651E40C1-712F-407B-89C7-7104627CC253}" srcOrd="0" destOrd="0" presId="urn:microsoft.com/office/officeart/2008/layout/VerticalCurvedList"/>
    <dgm:cxn modelId="{94C6B16B-1D40-4D70-82E2-1EC558F2A675}" srcId="{2F39B2E1-2D5F-42CC-BB05-B29749A5B3CE}" destId="{DCA612CC-7CAC-457F-AC26-A274A23D7A99}" srcOrd="0" destOrd="0" parTransId="{211DE629-0E50-4CB0-B44C-493ADA78034E}" sibTransId="{B2746B41-6190-42CB-8DDA-E9BF5083A6DE}"/>
    <dgm:cxn modelId="{BAC5A257-A95F-477C-9B8A-2A83BBC4A399}" srcId="{2F39B2E1-2D5F-42CC-BB05-B29749A5B3CE}" destId="{D6A3374E-8BAE-44EA-9598-8B98FAC9F377}" srcOrd="2" destOrd="0" parTransId="{3E7CB932-BB55-4FC2-9F20-9BDF7DC76D0E}" sibTransId="{BFDC80A7-FAD3-44D0-9F14-817BDEE00490}"/>
    <dgm:cxn modelId="{86991C97-5EE9-41AA-8A08-1BB5EA8C1A76}" type="presOf" srcId="{B2746B41-6190-42CB-8DDA-E9BF5083A6DE}" destId="{516A1DA5-E18C-4B64-9BB8-D34E39047AA9}" srcOrd="0" destOrd="0" presId="urn:microsoft.com/office/officeart/2008/layout/VerticalCurvedList"/>
    <dgm:cxn modelId="{E94BD6D5-5F9C-4175-9981-291A81B059DC}" type="presOf" srcId="{2F39B2E1-2D5F-42CC-BB05-B29749A5B3CE}" destId="{0E3C3F52-491C-4C20-BA3D-49F1E84CBB51}" srcOrd="0" destOrd="0" presId="urn:microsoft.com/office/officeart/2008/layout/VerticalCurvedList"/>
    <dgm:cxn modelId="{AC7FDDE5-E49E-4AEC-91E3-1D4662CE5F2B}" type="presOf" srcId="{7AD6B486-5C4C-467A-B09F-554AC66C296F}" destId="{A00DE0BB-1FB6-435E-AB64-9E46DE9EC8DC}" srcOrd="0" destOrd="0" presId="urn:microsoft.com/office/officeart/2008/layout/VerticalCurvedList"/>
    <dgm:cxn modelId="{50C5BFF1-B4E7-4DA2-9B00-F7D1AEFFAD1B}" type="presOf" srcId="{8C7BD61E-1230-44E8-9873-AD5535FA1A78}" destId="{C5B0DFBD-9143-4F53-B8DF-D2FC79BCF283}" srcOrd="0" destOrd="0" presId="urn:microsoft.com/office/officeart/2008/layout/VerticalCurvedList"/>
    <dgm:cxn modelId="{232C3BF4-B121-4F40-8FE3-7F7692A79E2B}" srcId="{2F39B2E1-2D5F-42CC-BB05-B29749A5B3CE}" destId="{8C7BD61E-1230-44E8-9873-AD5535FA1A78}" srcOrd="3" destOrd="0" parTransId="{B364AA03-F24A-4568-BEFF-A0BBF471154A}" sibTransId="{A4F8944B-71F3-44BC-985C-2CEDF66C2653}"/>
    <dgm:cxn modelId="{D38CEF40-94BD-4779-9639-7CEDA8F31AD2}" type="presParOf" srcId="{0E3C3F52-491C-4C20-BA3D-49F1E84CBB51}" destId="{4C5D77FB-0098-4720-A520-A8E7BDC2ACD6}" srcOrd="0" destOrd="0" presId="urn:microsoft.com/office/officeart/2008/layout/VerticalCurvedList"/>
    <dgm:cxn modelId="{BD8BC661-30BC-41A3-81DB-488757A1DBC1}" type="presParOf" srcId="{4C5D77FB-0098-4720-A520-A8E7BDC2ACD6}" destId="{FFC8CDCE-E9B6-464A-BB8A-F5F1D48E76B0}" srcOrd="0" destOrd="0" presId="urn:microsoft.com/office/officeart/2008/layout/VerticalCurvedList"/>
    <dgm:cxn modelId="{D43B58A9-90B6-499D-AD23-C223D342B8B1}" type="presParOf" srcId="{FFC8CDCE-E9B6-464A-BB8A-F5F1D48E76B0}" destId="{D5A7FE42-4F2A-4B0A-9758-363AF96F2DF8}" srcOrd="0" destOrd="0" presId="urn:microsoft.com/office/officeart/2008/layout/VerticalCurvedList"/>
    <dgm:cxn modelId="{F82670D6-D346-48F9-BFAF-DDD69EC6DBA1}" type="presParOf" srcId="{FFC8CDCE-E9B6-464A-BB8A-F5F1D48E76B0}" destId="{516A1DA5-E18C-4B64-9BB8-D34E39047AA9}" srcOrd="1" destOrd="0" presId="urn:microsoft.com/office/officeart/2008/layout/VerticalCurvedList"/>
    <dgm:cxn modelId="{8F8438BA-237F-4433-AD97-E7C9F61892D1}" type="presParOf" srcId="{FFC8CDCE-E9B6-464A-BB8A-F5F1D48E76B0}" destId="{0EFD210C-2B88-4816-A25E-2235CA9DDA57}" srcOrd="2" destOrd="0" presId="urn:microsoft.com/office/officeart/2008/layout/VerticalCurvedList"/>
    <dgm:cxn modelId="{B81261D6-7B6E-4CCD-9B8F-F8654FA6B1F0}" type="presParOf" srcId="{FFC8CDCE-E9B6-464A-BB8A-F5F1D48E76B0}" destId="{6B362365-DDD9-4E00-907C-F3F5EC531F07}" srcOrd="3" destOrd="0" presId="urn:microsoft.com/office/officeart/2008/layout/VerticalCurvedList"/>
    <dgm:cxn modelId="{ED96365F-2A45-46DC-AE8A-909935C9C9E3}" type="presParOf" srcId="{4C5D77FB-0098-4720-A520-A8E7BDC2ACD6}" destId="{651E40C1-712F-407B-89C7-7104627CC253}" srcOrd="1" destOrd="0" presId="urn:microsoft.com/office/officeart/2008/layout/VerticalCurvedList"/>
    <dgm:cxn modelId="{9B888AF9-E4D5-47F1-8BED-810D4FC783E5}" type="presParOf" srcId="{4C5D77FB-0098-4720-A520-A8E7BDC2ACD6}" destId="{871D6666-CE9C-4046-A8AE-FE3BB1C806B6}" srcOrd="2" destOrd="0" presId="urn:microsoft.com/office/officeart/2008/layout/VerticalCurvedList"/>
    <dgm:cxn modelId="{16BED362-A3C0-4ABB-B2DD-7CD7C5B4C2F3}" type="presParOf" srcId="{871D6666-CE9C-4046-A8AE-FE3BB1C806B6}" destId="{FC25C25E-AA1B-47D8-8CF1-7B2BBF8C6D5B}" srcOrd="0" destOrd="0" presId="urn:microsoft.com/office/officeart/2008/layout/VerticalCurvedList"/>
    <dgm:cxn modelId="{2556062D-366D-483F-A0EA-BE2D0D61BD31}" type="presParOf" srcId="{4C5D77FB-0098-4720-A520-A8E7BDC2ACD6}" destId="{A00DE0BB-1FB6-435E-AB64-9E46DE9EC8DC}" srcOrd="3" destOrd="0" presId="urn:microsoft.com/office/officeart/2008/layout/VerticalCurvedList"/>
    <dgm:cxn modelId="{B57AE46C-B6AC-4FAC-9E55-02D90B415ECB}" type="presParOf" srcId="{4C5D77FB-0098-4720-A520-A8E7BDC2ACD6}" destId="{1A583D3F-11CB-4121-B503-97D1AA6D7818}" srcOrd="4" destOrd="0" presId="urn:microsoft.com/office/officeart/2008/layout/VerticalCurvedList"/>
    <dgm:cxn modelId="{A9193A3A-7ECF-41AC-8AE3-73341132FF6C}" type="presParOf" srcId="{1A583D3F-11CB-4121-B503-97D1AA6D7818}" destId="{0682B057-DEAF-4BF2-BBB3-5BD95CC80918}" srcOrd="0" destOrd="0" presId="urn:microsoft.com/office/officeart/2008/layout/VerticalCurvedList"/>
    <dgm:cxn modelId="{8C40C380-B50D-4E80-851C-B1E333EB8F70}" type="presParOf" srcId="{4C5D77FB-0098-4720-A520-A8E7BDC2ACD6}" destId="{A707E664-2FAC-45D9-A818-D318C8E7F7C5}" srcOrd="5" destOrd="0" presId="urn:microsoft.com/office/officeart/2008/layout/VerticalCurvedList"/>
    <dgm:cxn modelId="{90C8C6F0-19F1-46CF-9254-34D807DE17C9}" type="presParOf" srcId="{4C5D77FB-0098-4720-A520-A8E7BDC2ACD6}" destId="{4BC49609-86CE-4C79-B557-02DC77FC8447}" srcOrd="6" destOrd="0" presId="urn:microsoft.com/office/officeart/2008/layout/VerticalCurvedList"/>
    <dgm:cxn modelId="{CAE87788-3E5A-4B82-B82D-562F6599FBF7}" type="presParOf" srcId="{4BC49609-86CE-4C79-B557-02DC77FC8447}" destId="{BE8037E0-BEBB-4B51-BE12-EA2E91A6482C}" srcOrd="0" destOrd="0" presId="urn:microsoft.com/office/officeart/2008/layout/VerticalCurvedList"/>
    <dgm:cxn modelId="{6F8B6906-25AE-440A-B003-8F61FC405E2D}" type="presParOf" srcId="{4C5D77FB-0098-4720-A520-A8E7BDC2ACD6}" destId="{C5B0DFBD-9143-4F53-B8DF-D2FC79BCF283}" srcOrd="7" destOrd="0" presId="urn:microsoft.com/office/officeart/2008/layout/VerticalCurvedList"/>
    <dgm:cxn modelId="{A7EB6F52-E50F-4892-A45B-3A55164FCC0A}" type="presParOf" srcId="{4C5D77FB-0098-4720-A520-A8E7BDC2ACD6}" destId="{1156D709-CA72-4F01-8635-3A24BCF5D1B0}" srcOrd="8" destOrd="0" presId="urn:microsoft.com/office/officeart/2008/layout/VerticalCurvedList"/>
    <dgm:cxn modelId="{2D81DC22-1964-47C4-B39E-51899D12BC79}" type="presParOf" srcId="{1156D709-CA72-4F01-8635-3A24BCF5D1B0}" destId="{E194C2B9-EBCB-4764-BCE9-774BDF685B8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6A1DA5-E18C-4B64-9BB8-D34E39047AA9}">
      <dsp:nvSpPr>
        <dsp:cNvPr id="0" name=""/>
        <dsp:cNvSpPr/>
      </dsp:nvSpPr>
      <dsp:spPr>
        <a:xfrm>
          <a:off x="-2244729" y="-347205"/>
          <a:ext cx="2681653" cy="2681653"/>
        </a:xfrm>
        <a:prstGeom prst="blockArc">
          <a:avLst>
            <a:gd name="adj1" fmla="val 18900000"/>
            <a:gd name="adj2" fmla="val 2700000"/>
            <a:gd name="adj3" fmla="val 805"/>
          </a:avLst>
        </a:pr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1E40C1-712F-407B-89C7-7104627CC253}">
      <dsp:nvSpPr>
        <dsp:cNvPr id="0" name=""/>
        <dsp:cNvSpPr/>
      </dsp:nvSpPr>
      <dsp:spPr>
        <a:xfrm>
          <a:off x="229595" y="46368"/>
          <a:ext cx="5669392" cy="518539"/>
        </a:xfrm>
        <a:prstGeom prst="rect">
          <a:avLst/>
        </a:prstGeom>
        <a:solidFill>
          <a:srgbClr val="2F5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63" tIns="25400" rIns="25400" bIns="254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 err="1"/>
            <a:t>Мүгедек</a:t>
          </a:r>
          <a:r>
            <a:rPr lang="ru-RU" sz="1000" kern="1200" dirty="0"/>
            <a:t> </a:t>
          </a:r>
          <a:r>
            <a:rPr lang="ru-RU" sz="1000" kern="1200" dirty="0" err="1"/>
            <a:t>балалары</a:t>
          </a:r>
          <a:r>
            <a:rPr lang="ru-RU" sz="1000" kern="1200" dirty="0"/>
            <a:t> бар </a:t>
          </a:r>
          <a:r>
            <a:rPr lang="ru-RU" sz="1000" kern="1200" dirty="0" err="1"/>
            <a:t>жұмыскерлерге</a:t>
          </a:r>
          <a:r>
            <a:rPr lang="ru-RU" sz="1000" kern="1200" dirty="0"/>
            <a:t> </a:t>
          </a:r>
          <a:r>
            <a:rPr lang="ru-RU" sz="1000" kern="1200" dirty="0" err="1"/>
            <a:t>ұзақтығы</a:t>
          </a:r>
          <a:r>
            <a:rPr lang="ru-RU" sz="1000" kern="1200" dirty="0"/>
            <a:t> </a:t>
          </a:r>
          <a:r>
            <a:rPr lang="ru-RU" sz="1000" kern="1200" dirty="0" err="1"/>
            <a:t>кемінде</a:t>
          </a:r>
          <a:r>
            <a:rPr lang="ru-RU" sz="1000" kern="1200" dirty="0"/>
            <a:t> </a:t>
          </a:r>
          <a:r>
            <a:rPr lang="ru-RU" sz="1000" kern="1200" dirty="0" err="1"/>
            <a:t>күнтізбелік</a:t>
          </a:r>
          <a:r>
            <a:rPr lang="ru-RU" sz="1000" kern="1200" dirty="0"/>
            <a:t> 2 </a:t>
          </a:r>
          <a:r>
            <a:rPr lang="ru-RU" sz="1000" kern="1200" dirty="0" err="1"/>
            <a:t>күнді</a:t>
          </a:r>
          <a:r>
            <a:rPr lang="ru-RU" sz="1000" kern="1200" dirty="0"/>
            <a:t> </a:t>
          </a:r>
          <a:r>
            <a:rPr lang="ru-RU" sz="1000" kern="1200" dirty="0" err="1"/>
            <a:t>құрайтын</a:t>
          </a:r>
          <a:r>
            <a:rPr lang="ru-RU" sz="1000" kern="1200" dirty="0"/>
            <a:t> </a:t>
          </a:r>
          <a:r>
            <a:rPr lang="ru-RU" sz="1000" kern="1200" dirty="0" err="1"/>
            <a:t>еңбекақы</a:t>
          </a:r>
          <a:r>
            <a:rPr lang="ru-RU" sz="1000" kern="1200" dirty="0"/>
            <a:t> </a:t>
          </a:r>
          <a:r>
            <a:rPr lang="ru-RU" sz="1000" kern="1200" dirty="0" err="1"/>
            <a:t>сақталатын</a:t>
          </a:r>
          <a:r>
            <a:rPr lang="ru-RU" sz="1000" kern="1200" dirty="0"/>
            <a:t> </a:t>
          </a:r>
          <a:r>
            <a:rPr lang="ru-RU" sz="1000" kern="1200" dirty="0" err="1"/>
            <a:t>әлеуметтік</a:t>
          </a:r>
          <a:r>
            <a:rPr lang="ru-RU" sz="1000" kern="1200" dirty="0"/>
            <a:t> </a:t>
          </a:r>
          <a:r>
            <a:rPr lang="ru-RU" sz="1000" kern="1200" dirty="0" err="1"/>
            <a:t>еңбек</a:t>
          </a:r>
          <a:r>
            <a:rPr lang="ru-RU" sz="1000" kern="1200" dirty="0"/>
            <a:t> </a:t>
          </a:r>
          <a:r>
            <a:rPr lang="ru-RU" sz="1000" kern="1200" dirty="0" err="1"/>
            <a:t>демалысы</a:t>
          </a:r>
          <a:r>
            <a:rPr lang="ru-RU" sz="1000" kern="1200" dirty="0"/>
            <a:t>.</a:t>
          </a:r>
        </a:p>
      </dsp:txBody>
      <dsp:txXfrm>
        <a:off x="229595" y="46368"/>
        <a:ext cx="5669392" cy="518539"/>
      </dsp:txXfrm>
    </dsp:sp>
    <dsp:sp modelId="{FC25C25E-AA1B-47D8-8CF1-7B2BBF8C6D5B}">
      <dsp:nvSpPr>
        <dsp:cNvPr id="0" name=""/>
        <dsp:cNvSpPr/>
      </dsp:nvSpPr>
      <dsp:spPr>
        <a:xfrm>
          <a:off x="50944" y="141597"/>
          <a:ext cx="357303" cy="32808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0DE0BB-1FB6-435E-AB64-9E46DE9EC8DC}">
      <dsp:nvSpPr>
        <dsp:cNvPr id="0" name=""/>
        <dsp:cNvSpPr/>
      </dsp:nvSpPr>
      <dsp:spPr>
        <a:xfrm>
          <a:off x="403222" y="636436"/>
          <a:ext cx="5494117" cy="350669"/>
        </a:xfrm>
        <a:prstGeom prst="rect">
          <a:avLst/>
        </a:prstGeom>
        <a:solidFill>
          <a:srgbClr val="2F5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63" tIns="25400" rIns="25400" bIns="25400" numCol="1" spcCol="1270" anchor="ctr" anchorCtr="0">
          <a:noAutofit/>
        </a:bodyPr>
        <a:lstStyle/>
        <a:p>
          <a:pPr marL="0" lvl="0" indent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000" kern="1200" dirty="0" err="1"/>
            <a:t>Мүгедектігі</a:t>
          </a:r>
          <a:r>
            <a:rPr lang="ru-RU" sz="1000" kern="1200" dirty="0"/>
            <a:t> бар </a:t>
          </a:r>
          <a:r>
            <a:rPr lang="ru-RU" sz="1000" kern="1200" dirty="0" err="1"/>
            <a:t>адамдар</a:t>
          </a:r>
          <a:r>
            <a:rPr lang="ru-RU" sz="1000" kern="1200" dirty="0"/>
            <a:t> </a:t>
          </a:r>
          <a:r>
            <a:rPr lang="ru-RU" sz="1000" kern="1200" dirty="0" err="1"/>
            <a:t>күніне</a:t>
          </a:r>
          <a:r>
            <a:rPr lang="ru-RU" sz="1000" kern="1200" dirty="0"/>
            <a:t> </a:t>
          </a:r>
          <a:r>
            <a:rPr lang="ru-RU" sz="1000" kern="1200" dirty="0" err="1"/>
            <a:t>мүгедектігі</a:t>
          </a:r>
          <a:r>
            <a:rPr lang="ru-RU" sz="1000" kern="1200" dirty="0"/>
            <a:t> бар </a:t>
          </a:r>
          <a:r>
            <a:rPr lang="ru-RU" sz="1000" kern="1200" dirty="0" err="1"/>
            <a:t>балалары</a:t>
          </a:r>
          <a:r>
            <a:rPr lang="ru-RU" sz="1000" kern="1200" dirty="0"/>
            <a:t> бар </a:t>
          </a:r>
          <a:r>
            <a:rPr lang="ru-RU" sz="1000" kern="1200" dirty="0" err="1"/>
            <a:t>жұмыскерлердің</a:t>
          </a:r>
          <a:r>
            <a:rPr lang="ru-RU" sz="1000" kern="1200" dirty="0"/>
            <a:t> </a:t>
          </a:r>
          <a:r>
            <a:rPr lang="ru-RU" sz="1000" kern="1200" dirty="0" err="1"/>
            <a:t>әр</a:t>
          </a:r>
          <a:r>
            <a:rPr lang="ru-RU" sz="1000" kern="1200" dirty="0"/>
            <a:t> </a:t>
          </a:r>
          <a:r>
            <a:rPr lang="ru-RU" sz="1000" kern="1200" dirty="0" err="1"/>
            <a:t>баласына</a:t>
          </a:r>
          <a:r>
            <a:rPr lang="ru-RU" sz="1000" kern="1200" dirty="0"/>
            <a:t> 40 АЕК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403222" y="636436"/>
        <a:ext cx="5494117" cy="350669"/>
      </dsp:txXfrm>
    </dsp:sp>
    <dsp:sp modelId="{0682B057-DEAF-4BF2-BBB3-5BD95CC80918}">
      <dsp:nvSpPr>
        <dsp:cNvPr id="0" name=""/>
        <dsp:cNvSpPr/>
      </dsp:nvSpPr>
      <dsp:spPr>
        <a:xfrm>
          <a:off x="204623" y="579938"/>
          <a:ext cx="400493" cy="3687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50000"/>
              <a:hueOff val="167129"/>
              <a:satOff val="4478"/>
              <a:lumOff val="19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07E664-2FAC-45D9-A818-D318C8E7F7C5}">
      <dsp:nvSpPr>
        <dsp:cNvPr id="0" name=""/>
        <dsp:cNvSpPr/>
      </dsp:nvSpPr>
      <dsp:spPr>
        <a:xfrm>
          <a:off x="404870" y="1070090"/>
          <a:ext cx="5494117" cy="305717"/>
        </a:xfrm>
        <a:prstGeom prst="rect">
          <a:avLst/>
        </a:prstGeom>
        <a:solidFill>
          <a:srgbClr val="2F5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63" tIns="25400" rIns="25400" bIns="254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 err="1"/>
            <a:t>Ауғанстан</a:t>
          </a:r>
          <a:r>
            <a:rPr lang="ru-RU" sz="1000" kern="1200" dirty="0"/>
            <a:t> мен </a:t>
          </a:r>
          <a:r>
            <a:rPr lang="ru-RU" sz="1000" kern="1200" dirty="0" err="1"/>
            <a:t>Тәжікстан</a:t>
          </a:r>
          <a:r>
            <a:rPr lang="ru-RU" sz="1000" kern="1200" dirty="0"/>
            <a:t> </a:t>
          </a:r>
          <a:r>
            <a:rPr lang="ru-RU" sz="1000" kern="1200" dirty="0" err="1"/>
            <a:t>аумағындағы</a:t>
          </a:r>
          <a:r>
            <a:rPr lang="ru-RU" sz="1000" kern="1200" dirty="0"/>
            <a:t> </a:t>
          </a:r>
          <a:r>
            <a:rPr lang="ru-RU" sz="1000" kern="1200" dirty="0" err="1"/>
            <a:t>әскери</a:t>
          </a:r>
          <a:r>
            <a:rPr lang="ru-RU" sz="1000" kern="1200" dirty="0"/>
            <a:t> </a:t>
          </a:r>
          <a:r>
            <a:rPr lang="ru-RU" sz="1000" kern="1200" dirty="0" err="1"/>
            <a:t>қимылдарға</a:t>
          </a:r>
          <a:r>
            <a:rPr lang="ru-RU" sz="1000" kern="1200" dirty="0"/>
            <a:t> </a:t>
          </a:r>
          <a:r>
            <a:rPr lang="ru-RU" sz="1000" kern="1200" dirty="0" err="1"/>
            <a:t>және</a:t>
          </a:r>
          <a:r>
            <a:rPr lang="ru-RU" sz="1000" kern="1200" dirty="0"/>
            <a:t> Чернобыль атом </a:t>
          </a:r>
          <a:r>
            <a:rPr lang="ru-RU" sz="1000" kern="1200" dirty="0" err="1"/>
            <a:t>электр</a:t>
          </a:r>
          <a:r>
            <a:rPr lang="ru-RU" sz="1000" kern="1200" dirty="0"/>
            <a:t> </a:t>
          </a:r>
          <a:r>
            <a:rPr lang="ru-RU" sz="1000" kern="1200" dirty="0" err="1"/>
            <a:t>станциясындағы</a:t>
          </a:r>
          <a:r>
            <a:rPr lang="ru-RU" sz="1000" kern="1200" dirty="0"/>
            <a:t> </a:t>
          </a:r>
          <a:r>
            <a:rPr lang="ru-RU" sz="1000" kern="1200" dirty="0" err="1"/>
            <a:t>аварияның</a:t>
          </a:r>
          <a:r>
            <a:rPr lang="ru-RU" sz="1000" kern="1200" dirty="0"/>
            <a:t> </a:t>
          </a:r>
          <a:r>
            <a:rPr lang="ru-RU" sz="1000" kern="1200" dirty="0" err="1"/>
            <a:t>салдарын</a:t>
          </a:r>
          <a:r>
            <a:rPr lang="ru-RU" sz="1000" kern="1200" dirty="0"/>
            <a:t> </a:t>
          </a:r>
          <a:r>
            <a:rPr lang="ru-RU" sz="1000" kern="1200" dirty="0" err="1"/>
            <a:t>жоюға</a:t>
          </a:r>
          <a:r>
            <a:rPr lang="ru-RU" sz="1000" kern="1200" dirty="0"/>
            <a:t> </a:t>
          </a:r>
          <a:r>
            <a:rPr lang="ru-RU" sz="1000" kern="1200" dirty="0" err="1"/>
            <a:t>қатысқан</a:t>
          </a:r>
          <a:r>
            <a:rPr lang="ru-RU" sz="1000" kern="1200" dirty="0"/>
            <a:t> </a:t>
          </a:r>
          <a:r>
            <a:rPr lang="ru-RU" sz="1000" kern="1200" dirty="0" err="1"/>
            <a:t>жұмыскерлерге</a:t>
          </a:r>
          <a:r>
            <a:rPr lang="ru-RU" sz="1000" kern="1200" dirty="0"/>
            <a:t> 20 АЕК.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404870" y="1070090"/>
        <a:ext cx="5494117" cy="305717"/>
      </dsp:txXfrm>
    </dsp:sp>
    <dsp:sp modelId="{BE8037E0-BEBB-4B51-BE12-EA2E91A6482C}">
      <dsp:nvSpPr>
        <dsp:cNvPr id="0" name=""/>
        <dsp:cNvSpPr/>
      </dsp:nvSpPr>
      <dsp:spPr>
        <a:xfrm>
          <a:off x="213797" y="1031875"/>
          <a:ext cx="382146" cy="3821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50000"/>
              <a:hueOff val="334258"/>
              <a:satOff val="8955"/>
              <a:lumOff val="394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B0DFBD-9143-4F53-B8DF-D2FC79BCF283}">
      <dsp:nvSpPr>
        <dsp:cNvPr id="0" name=""/>
        <dsp:cNvSpPr/>
      </dsp:nvSpPr>
      <dsp:spPr>
        <a:xfrm>
          <a:off x="229595" y="1479153"/>
          <a:ext cx="5669392" cy="404901"/>
        </a:xfrm>
        <a:prstGeom prst="rect">
          <a:avLst/>
        </a:prstGeom>
        <a:solidFill>
          <a:srgbClr val="2F5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63" tIns="25400" rIns="25400" bIns="254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4 (</a:t>
          </a:r>
          <a:r>
            <a:rPr lang="ru-RU" sz="1000" kern="1200" dirty="0" err="1"/>
            <a:t>төрт</a:t>
          </a:r>
          <a:r>
            <a:rPr lang="ru-RU" sz="1000" kern="1200" dirty="0"/>
            <a:t>) </a:t>
          </a:r>
          <a:r>
            <a:rPr lang="ru-RU" sz="1000" kern="1200" dirty="0" err="1"/>
            <a:t>және</a:t>
          </a:r>
          <a:r>
            <a:rPr lang="ru-RU" sz="1000" kern="1200" dirty="0"/>
            <a:t> </a:t>
          </a:r>
          <a:r>
            <a:rPr lang="ru-RU" sz="1000" kern="1200" dirty="0" err="1"/>
            <a:t>одан</a:t>
          </a:r>
          <a:r>
            <a:rPr lang="ru-RU" sz="1000" kern="1200" dirty="0"/>
            <a:t> да </a:t>
          </a:r>
          <a:r>
            <a:rPr lang="ru-RU" sz="1000" kern="1200" dirty="0" err="1"/>
            <a:t>көп</a:t>
          </a:r>
          <a:r>
            <a:rPr lang="ru-RU" sz="1000" kern="1200" dirty="0"/>
            <a:t> </a:t>
          </a:r>
          <a:r>
            <a:rPr lang="ru-RU" sz="1000" kern="1200" dirty="0" err="1"/>
            <a:t>балаларды</a:t>
          </a:r>
          <a:r>
            <a:rPr lang="ru-RU" sz="1000" kern="1200" dirty="0"/>
            <a:t>, </a:t>
          </a:r>
          <a:r>
            <a:rPr lang="ru-RU" sz="1000" kern="1200" dirty="0" err="1"/>
            <a:t>мүгедектігі</a:t>
          </a:r>
          <a:r>
            <a:rPr lang="ru-RU" sz="1000" kern="1200" dirty="0"/>
            <a:t> бар </a:t>
          </a:r>
          <a:r>
            <a:rPr lang="ru-RU" sz="1000" kern="1200" dirty="0" err="1"/>
            <a:t>балаларды</a:t>
          </a:r>
          <a:r>
            <a:rPr lang="ru-RU" sz="1000" kern="1200" dirty="0"/>
            <a:t> </a:t>
          </a:r>
          <a:r>
            <a:rPr lang="ru-RU" sz="1000" kern="1200" dirty="0" err="1"/>
            <a:t>тәрбиелеп</a:t>
          </a:r>
          <a:r>
            <a:rPr lang="ru-RU" sz="1000" kern="1200" dirty="0"/>
            <a:t> </a:t>
          </a:r>
          <a:r>
            <a:rPr lang="ru-RU" sz="1000" kern="1200" dirty="0" err="1"/>
            <a:t>отырған</a:t>
          </a:r>
          <a:r>
            <a:rPr lang="ru-RU" sz="1000" kern="1200" dirty="0"/>
            <a:t> </a:t>
          </a:r>
          <a:r>
            <a:rPr lang="ru-RU" sz="1000" kern="1200" dirty="0" err="1"/>
            <a:t>жұмыскерлер</a:t>
          </a:r>
          <a:r>
            <a:rPr lang="ru-RU" sz="1000" kern="1200" dirty="0"/>
            <a:t> </a:t>
          </a:r>
          <a:r>
            <a:rPr lang="ru-RU" sz="1000" kern="1200" dirty="0" err="1"/>
            <a:t>үшін</a:t>
          </a:r>
          <a:r>
            <a:rPr lang="ru-RU" sz="1000" kern="1200" dirty="0"/>
            <a:t> </a:t>
          </a:r>
          <a:r>
            <a:rPr lang="ru-RU" sz="1000" kern="1200" dirty="0" err="1"/>
            <a:t>оларға</a:t>
          </a:r>
          <a:r>
            <a:rPr lang="ru-RU" sz="1000" kern="1200" dirty="0"/>
            <a:t> </a:t>
          </a:r>
          <a:r>
            <a:rPr lang="ru-RU" sz="1000" kern="1200" dirty="0" err="1"/>
            <a:t>қолайлы</a:t>
          </a:r>
          <a:r>
            <a:rPr lang="ru-RU" sz="1000" kern="1200" dirty="0"/>
            <a:t> </a:t>
          </a:r>
          <a:r>
            <a:rPr lang="ru-RU" sz="1000" kern="1200" dirty="0" err="1"/>
            <a:t>уақытта</a:t>
          </a:r>
          <a:r>
            <a:rPr lang="ru-RU" sz="1000" kern="1200" dirty="0"/>
            <a:t> </a:t>
          </a:r>
          <a:r>
            <a:rPr lang="ru-RU" sz="1000" kern="1200" dirty="0" err="1"/>
            <a:t>жыл</a:t>
          </a:r>
          <a:r>
            <a:rPr lang="ru-RU" sz="1000" kern="1200" dirty="0"/>
            <a:t> </a:t>
          </a:r>
          <a:r>
            <a:rPr lang="ru-RU" sz="1000" kern="1200" dirty="0" err="1"/>
            <a:t>сайынғы</a:t>
          </a:r>
          <a:r>
            <a:rPr lang="ru-RU" sz="1000" kern="1200" dirty="0"/>
            <a:t> </a:t>
          </a:r>
          <a:r>
            <a:rPr lang="ru-RU" sz="1000" kern="1200" dirty="0" err="1"/>
            <a:t>ақылы</a:t>
          </a:r>
          <a:r>
            <a:rPr lang="ru-RU" sz="1000" kern="1200" dirty="0"/>
            <a:t> </a:t>
          </a:r>
          <a:r>
            <a:rPr lang="ru-RU" sz="1000" kern="1200" dirty="0" err="1"/>
            <a:t>еңбек</a:t>
          </a:r>
          <a:r>
            <a:rPr lang="ru-RU" sz="1000" kern="1200" dirty="0"/>
            <a:t> </a:t>
          </a:r>
          <a:r>
            <a:rPr lang="ru-RU" sz="1000" kern="1200" dirty="0" err="1"/>
            <a:t>демалыстарын</a:t>
          </a:r>
          <a:r>
            <a:rPr lang="ru-RU" sz="1000" kern="1200" dirty="0"/>
            <a:t> </a:t>
          </a:r>
          <a:r>
            <a:rPr lang="ru-RU" sz="1000" kern="1200" dirty="0" err="1"/>
            <a:t>пайдалануға</a:t>
          </a:r>
          <a:r>
            <a:rPr lang="ru-RU" sz="1000" kern="1200" dirty="0"/>
            <a:t> </a:t>
          </a:r>
          <a:r>
            <a:rPr lang="ru-RU" sz="1000" kern="1200" dirty="0" err="1"/>
            <a:t>басымдық</a:t>
          </a:r>
          <a:r>
            <a:rPr lang="ru-RU" sz="1000" kern="1200" dirty="0"/>
            <a:t> </a:t>
          </a:r>
          <a:r>
            <a:rPr lang="ru-RU" sz="1000" kern="1200" dirty="0" err="1"/>
            <a:t>құқық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229595" y="1479153"/>
        <a:ext cx="5669392" cy="404901"/>
      </dsp:txXfrm>
    </dsp:sp>
    <dsp:sp modelId="{E194C2B9-EBCB-4764-BCE9-774BDF685B80}">
      <dsp:nvSpPr>
        <dsp:cNvPr id="0" name=""/>
        <dsp:cNvSpPr/>
      </dsp:nvSpPr>
      <dsp:spPr>
        <a:xfrm>
          <a:off x="38522" y="1490530"/>
          <a:ext cx="382146" cy="3821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50000"/>
              <a:hueOff val="167129"/>
              <a:satOff val="4478"/>
              <a:lumOff val="19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094</cdr:x>
      <cdr:y>0.01416</cdr:y>
    </cdr:from>
    <cdr:to>
      <cdr:x>0.82901</cdr:x>
      <cdr:y>0.10434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899514" y="35819"/>
          <a:ext cx="481532" cy="228093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200" b="1" dirty="0">
            <a:solidFill>
              <a:schemeClr val="tx2">
                <a:lumMod val="60000"/>
                <a:lumOff val="4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7662</cdr:x>
      <cdr:y>0.6338</cdr:y>
    </cdr:from>
    <cdr:to>
      <cdr:x>0.65355</cdr:x>
      <cdr:y>0.74052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5046777" y="1875525"/>
          <a:ext cx="673321" cy="315803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kern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rPr>
            <a:t>0,65%</a:t>
          </a:r>
        </a:p>
      </cdr:txBody>
    </cdr:sp>
  </cdr:relSizeAnchor>
  <cdr:relSizeAnchor xmlns:cdr="http://schemas.openxmlformats.org/drawingml/2006/chartDrawing">
    <cdr:from>
      <cdr:x>0.21746</cdr:x>
      <cdr:y>0.43864</cdr:y>
    </cdr:from>
    <cdr:to>
      <cdr:x>0.33233</cdr:x>
      <cdr:y>0.53012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1903268" y="1298019"/>
          <a:ext cx="1005388" cy="270705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kern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rPr>
            <a:t> 0,35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E5CA2A-F6D0-4174-801C-92B877E545EE}" type="datetimeFigureOut">
              <a:rPr lang="ru-RU" smtClean="0"/>
              <a:t>19.09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8FC66C-2C42-428B-8A59-D5E8161CDD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015167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136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136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r">
              <a:defRPr sz="1200"/>
            </a:lvl1pPr>
          </a:lstStyle>
          <a:p>
            <a:fld id="{47184788-6911-4512-B395-E8FF2E06ECEB}" type="datetimeFigureOut">
              <a:rPr lang="ru-RU" smtClean="0"/>
              <a:t>19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67" tIns="45734" rIns="91467" bIns="4573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67" tIns="45734" rIns="91467" bIns="4573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8135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3"/>
            <a:ext cx="2945660" cy="498135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r">
              <a:defRPr sz="1200"/>
            </a:lvl1pPr>
          </a:lstStyle>
          <a:p>
            <a:fld id="{D1690DD9-364F-445F-B57E-716DCC4526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18449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369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3646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7892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731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2044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0374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72020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90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07414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50604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2753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97021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35848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4171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9743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4C734-1DAD-4886-A0F5-B336377F4AD4}" type="slidenum">
              <a:rPr lang="ru-RU" smtClean="0"/>
              <a:t>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6741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6044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6007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1734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32016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43134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29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34476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6888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25673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1</a:t>
            </a:fld>
            <a:endParaRPr lang="ru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4163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2</a:t>
            </a:fld>
            <a:endParaRPr lang="ru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898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82346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34426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35691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46897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92283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9399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647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0607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598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25408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9999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340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290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836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974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70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7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568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2" y="5"/>
            <a:ext cx="12191999" cy="684885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66444" y="48023"/>
            <a:ext cx="8259113" cy="227306"/>
          </a:xfrm>
        </p:spPr>
        <p:txBody>
          <a:bodyPr lIns="0" tIns="0" rIns="0" bIns="0"/>
          <a:lstStyle>
            <a:lvl1pPr>
              <a:defRPr sz="1477" b="1" i="0">
                <a:solidFill>
                  <a:srgbClr val="00466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5308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37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367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318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824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43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146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49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138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89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Relationship Id="rId9" Type="http://schemas.openxmlformats.org/officeDocument/2006/relationships/image" Target="../media/image4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0.jpeg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3.png"/><Relationship Id="rId7" Type="http://schemas.openxmlformats.org/officeDocument/2006/relationships/image" Target="../media/image5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10" Type="http://schemas.openxmlformats.org/officeDocument/2006/relationships/image" Target="../media/image57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image" Target="../media/image3.png"/><Relationship Id="rId7" Type="http://schemas.openxmlformats.org/officeDocument/2006/relationships/image" Target="../media/image63.emf"/><Relationship Id="rId12" Type="http://schemas.openxmlformats.org/officeDocument/2006/relationships/image" Target="../media/image6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11" Type="http://schemas.openxmlformats.org/officeDocument/2006/relationships/image" Target="../media/image67.jpe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9.png"/><Relationship Id="rId7" Type="http://schemas.openxmlformats.org/officeDocument/2006/relationships/image" Target="../media/image7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jpe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jpeg"/><Relationship Id="rId5" Type="http://schemas.openxmlformats.org/officeDocument/2006/relationships/image" Target="../media/image76.jpeg"/><Relationship Id="rId10" Type="http://schemas.openxmlformats.org/officeDocument/2006/relationships/image" Target="../media/image80.jpeg"/><Relationship Id="rId4" Type="http://schemas.openxmlformats.org/officeDocument/2006/relationships/image" Target="../media/image75.jpeg"/><Relationship Id="rId9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3.jpe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jpeg"/><Relationship Id="rId3" Type="http://schemas.openxmlformats.org/officeDocument/2006/relationships/image" Target="../media/image3.png"/><Relationship Id="rId7" Type="http://schemas.openxmlformats.org/officeDocument/2006/relationships/image" Target="../media/image88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6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image" Target="../media/image3.png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10" Type="http://schemas.openxmlformats.org/officeDocument/2006/relationships/image" Target="../media/image98.jpeg"/><Relationship Id="rId4" Type="http://schemas.openxmlformats.org/officeDocument/2006/relationships/image" Target="../media/image92.jpeg"/><Relationship Id="rId9" Type="http://schemas.openxmlformats.org/officeDocument/2006/relationships/image" Target="../media/image97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3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0.png"/><Relationship Id="rId9" Type="http://schemas.openxmlformats.org/officeDocument/2006/relationships/image" Target="../media/image10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3.png"/><Relationship Id="rId7" Type="http://schemas.openxmlformats.org/officeDocument/2006/relationships/image" Target="../media/image10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jpeg"/><Relationship Id="rId3" Type="http://schemas.openxmlformats.org/officeDocument/2006/relationships/image" Target="../media/image110.jpeg"/><Relationship Id="rId7" Type="http://schemas.openxmlformats.org/officeDocument/2006/relationships/image" Target="../media/image113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2.jpeg"/><Relationship Id="rId11" Type="http://schemas.openxmlformats.org/officeDocument/2006/relationships/image" Target="../media/image117.png"/><Relationship Id="rId5" Type="http://schemas.openxmlformats.org/officeDocument/2006/relationships/image" Target="../media/image111.jpeg"/><Relationship Id="rId10" Type="http://schemas.openxmlformats.org/officeDocument/2006/relationships/image" Target="../media/image116.jpeg"/><Relationship Id="rId4" Type="http://schemas.openxmlformats.org/officeDocument/2006/relationships/image" Target="../media/image3.png"/><Relationship Id="rId9" Type="http://schemas.openxmlformats.org/officeDocument/2006/relationships/image" Target="../media/image115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3" Type="http://schemas.openxmlformats.org/officeDocument/2006/relationships/image" Target="../media/image110.jpeg"/><Relationship Id="rId7" Type="http://schemas.openxmlformats.org/officeDocument/2006/relationships/image" Target="../media/image120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9.jpeg"/><Relationship Id="rId5" Type="http://schemas.openxmlformats.org/officeDocument/2006/relationships/image" Target="../media/image118.jpeg"/><Relationship Id="rId4" Type="http://schemas.openxmlformats.org/officeDocument/2006/relationships/image" Target="../media/image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7.png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jp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3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3.pn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41561" y="2065366"/>
            <a:ext cx="2815627" cy="578763"/>
          </a:xfrm>
          <a:prstGeom prst="rect">
            <a:avLst/>
          </a:prstGeom>
          <a:solidFill>
            <a:srgbClr val="2D4B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68641" y="2856468"/>
            <a:ext cx="8926926" cy="676039"/>
          </a:xfrm>
          <a:prstGeom prst="rect">
            <a:avLst/>
          </a:prstGeom>
          <a:noFill/>
        </p:spPr>
        <p:txBody>
          <a:bodyPr vert="horz" wrap="square" lIns="0" tIns="11133" rIns="0" bIns="0" rtlCol="0" anchor="ctr">
            <a:spAutoFit/>
          </a:bodyPr>
          <a:lstStyle/>
          <a:p>
            <a:pPr marL="12696">
              <a:spcBef>
                <a:spcPts val="95"/>
              </a:spcBef>
            </a:pPr>
            <a:r>
              <a:rPr lang="ru-RU" sz="2400" spc="-5" dirty="0">
                <a:solidFill>
                  <a:srgbClr val="FFFFFF"/>
                </a:solidFill>
              </a:rPr>
              <a:t>2025 ЖЫЛҒЫ І ЖАРТЫЖЫЛДЫҚТАҒЫ «ПМХЗ» ЖШС ЖҰМЫС ҚОРЫТЫНДЫЛАРЫ ТУРАЛЫ ЕСЕП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B6DBC5-2991-4E2A-939D-C7D09FC53455}"/>
              </a:ext>
            </a:extLst>
          </p:cNvPr>
          <p:cNvSpPr txBox="1">
            <a:spLocks/>
          </p:cNvSpPr>
          <p:nvPr/>
        </p:nvSpPr>
        <p:spPr>
          <a:xfrm>
            <a:off x="5029586" y="6475899"/>
            <a:ext cx="2109391" cy="210079"/>
          </a:xfrm>
          <a:prstGeom prst="rect">
            <a:avLst/>
          </a:prstGeom>
        </p:spPr>
        <p:txBody>
          <a:bodyPr vert="horz" wrap="square" lIns="0" tIns="11133" rIns="0" bIns="0" rtlCol="0">
            <a:spAutoFit/>
          </a:bodyPr>
          <a:lstStyle>
            <a:lvl1pPr>
              <a:defRPr sz="1600" b="1" i="0">
                <a:solidFill>
                  <a:srgbClr val="00466C"/>
                </a:solidFill>
                <a:latin typeface="Arial"/>
                <a:ea typeface="+mj-ea"/>
                <a:cs typeface="Arial"/>
              </a:defRPr>
            </a:lvl1pPr>
          </a:lstStyle>
          <a:p>
            <a:pPr marL="11720" algn="ctr">
              <a:spcBef>
                <a:spcPts val="88"/>
              </a:spcBef>
            </a:pPr>
            <a:r>
              <a:rPr lang="ru-RU" sz="1292" i="1" kern="0" dirty="0">
                <a:solidFill>
                  <a:schemeClr val="tx1"/>
                </a:solidFill>
              </a:rPr>
              <a:t>2025 </a:t>
            </a:r>
            <a:r>
              <a:rPr lang="ru-RU" sz="1292" i="1" kern="0" dirty="0" err="1">
                <a:solidFill>
                  <a:schemeClr val="tx1"/>
                </a:solidFill>
              </a:rPr>
              <a:t>жылғы</a:t>
            </a:r>
            <a:r>
              <a:rPr lang="ru-RU" sz="1292" i="1" kern="0" dirty="0">
                <a:solidFill>
                  <a:schemeClr val="tx1"/>
                </a:solidFill>
              </a:rPr>
              <a:t> </a:t>
            </a:r>
            <a:r>
              <a:rPr lang="ru-RU" sz="1292" i="1" kern="0" dirty="0" err="1">
                <a:solidFill>
                  <a:schemeClr val="tx1"/>
                </a:solidFill>
              </a:rPr>
              <a:t>тамыз</a:t>
            </a:r>
            <a:endParaRPr lang="ru-RU" sz="1292" i="1" kern="0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41" y="2171574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46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6763841" y="30765"/>
            <a:ext cx="53783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КІМШІЛІК-ТҰРМЫСТЫҚ КЕШЕНДЕРДІ ЖӨНДЕУ БОЙЫНША ЖҰМЫСТАРДЫҢ ФОТОЕСЕБІ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206039" y="5944170"/>
            <a:ext cx="35523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йінне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1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лісін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ығара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115/5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лісі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еизогексинезатордың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убтық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імі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ығару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73891" y="3117280"/>
            <a:ext cx="427669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 703-ж.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704-ж.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ы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азы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йындау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логі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су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С-700-ден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зартылға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БТ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БТ)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73" y="849508"/>
            <a:ext cx="3377911" cy="2216426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215989" y="3109513"/>
            <a:ext cx="399005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КТӨ СГП 69/30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лісін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"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nametrix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шегіші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шіру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09" b="-1118"/>
          <a:stretch/>
        </p:blipFill>
        <p:spPr>
          <a:xfrm rot="5400000">
            <a:off x="8827921" y="449833"/>
            <a:ext cx="2216425" cy="3015777"/>
          </a:xfrm>
          <a:prstGeom prst="rect">
            <a:avLst/>
          </a:prstGeom>
        </p:spPr>
      </p:pic>
      <p:pic>
        <p:nvPicPr>
          <p:cNvPr id="3074" name="Picture 2" descr="892b4568-685d-4278-afa7-4455e54b4800@PNHZ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5859" y="3733800"/>
            <a:ext cx="2928163" cy="214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8027569" y="3107555"/>
            <a:ext cx="39047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ТӨӨ С-200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ндырғысына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40 </a:t>
            </a:r>
            <a:r>
              <a:rPr lang="kk-KZ" sz="1200" b="1" baseline="300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</a:t>
            </a:r>
            <a:r>
              <a:rPr lang="kk-KZ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астам фракцияны шығару бойынша клапан құрастырымын монтаждау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581" y="3733800"/>
            <a:ext cx="2967365" cy="2146989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4463447" y="5951356"/>
            <a:ext cx="355231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ӨжәнеЖЗШ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850 LAM - C850009 С850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лісінд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нометрге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ызмет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аңы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75" y="3718847"/>
            <a:ext cx="3377911" cy="22253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582" y="829346"/>
            <a:ext cx="2967365" cy="2217556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343770" y="5951356"/>
            <a:ext cx="35523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МҚӨӨ БШҚ Н-10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р</a:t>
            </a:r>
            <a:r>
              <a:rPr lang="ru-RU" sz="14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ғ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ысы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77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9090750" y="163737"/>
            <a:ext cx="32139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ТАПҚЫШТЫҚ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928852" y="1548300"/>
            <a:ext cx="5921772" cy="378565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indent="355600" algn="just"/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«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Идеялар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нк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»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йелік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латформасынд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Инновациялық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митетті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әкімшіс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/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рапшылар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/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үшелер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етінде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453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айдаланушы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іркелд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lvl="0" indent="355600" algn="just"/>
            <a:endParaRPr lang="ru-RU" sz="1600" dirty="0">
              <a:solidFill>
                <a:srgbClr val="003366"/>
              </a:solidFill>
              <a:latin typeface="Century Gothic" panose="020B0502020202020204" pitchFamily="34" charset="0"/>
            </a:endParaRPr>
          </a:p>
          <a:p>
            <a:pPr lvl="0" indent="355600" algn="just"/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2025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дың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1-ші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ртыжылдығындағы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ертапқыштық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ұсыныстар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: </a:t>
            </a:r>
          </a:p>
          <a:p>
            <a:pPr lvl="0" indent="355600" algn="just"/>
            <a:endParaRPr lang="ru-RU" sz="1600" b="1" dirty="0">
              <a:solidFill>
                <a:srgbClr val="003366"/>
              </a:solidFill>
              <a:latin typeface="Century Gothic" panose="020B0502020202020204" pitchFamily="34" charset="0"/>
            </a:endParaRPr>
          </a:p>
          <a:p>
            <a:pPr lvl="0" indent="355600" algn="just"/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►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Инновациялық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комитет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тырысынд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6 </a:t>
            </a:r>
            <a:r>
              <a:rPr lang="ru-RU" sz="16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қырып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рал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lvl="0" indent="355600" algn="just"/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6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ұсынысты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2-уі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ертапқыштық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, 1-уі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ерспективалық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идея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лып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ныл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lvl="0" indent="355600" algn="just"/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ыйақ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өлемдеріні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лп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омас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1 100 960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ңген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ра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indent="355600" algn="just"/>
            <a:endParaRPr lang="ru-RU" sz="1600" b="1" kern="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887" y="1478951"/>
            <a:ext cx="5303765" cy="3727230"/>
          </a:xfrm>
          <a:prstGeom prst="rect">
            <a:avLst/>
          </a:prstGeom>
        </p:spPr>
      </p:pic>
      <p:sp>
        <p:nvSpPr>
          <p:cNvPr id="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32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460375" y="5113035"/>
            <a:ext cx="8345919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ориолис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шығын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өлшегіштерін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ексеру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бильд</a:t>
            </a:r>
            <a:r>
              <a:rPr lang="kk-KZ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рату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танциясы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айдалана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әсіпорынның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ппай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шығы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лшегіштерінің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48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ліг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(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оның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шінд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й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імдері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есепк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удың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ммерциялық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аптарының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2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ліг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)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ксерілд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endParaRPr lang="ru-RU" sz="1400" b="1" u="sng" dirty="0">
              <a:solidFill>
                <a:srgbClr val="003366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176833" y="2672831"/>
            <a:ext cx="7640398" cy="783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ассалық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шығын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өлшегіштерді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рнату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Әзірленге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баларға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әйкес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ПМХЗ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дірістерінд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9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лік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риолис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шығы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лшегіштер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натылды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к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сылды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DB1FE910-8E84-4104-B139-D99B384A8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180643"/>
              </p:ext>
            </p:extLst>
          </p:nvPr>
        </p:nvGraphicFramePr>
        <p:xfrm>
          <a:off x="3704733" y="3558379"/>
          <a:ext cx="6768446" cy="7590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43753">
                  <a:extLst>
                    <a:ext uri="{9D8B030D-6E8A-4147-A177-3AD203B41FA5}">
                      <a16:colId xmlns:a16="http://schemas.microsoft.com/office/drawing/2014/main" val="2095496789"/>
                    </a:ext>
                  </a:extLst>
                </a:gridCol>
                <a:gridCol w="2107391">
                  <a:extLst>
                    <a:ext uri="{9D8B030D-6E8A-4147-A177-3AD203B41FA5}">
                      <a16:colId xmlns:a16="http://schemas.microsoft.com/office/drawing/2014/main" val="33642543"/>
                    </a:ext>
                  </a:extLst>
                </a:gridCol>
                <a:gridCol w="2417302">
                  <a:extLst>
                    <a:ext uri="{9D8B030D-6E8A-4147-A177-3AD203B41FA5}">
                      <a16:colId xmlns:a16="http://schemas.microsoft.com/office/drawing/2014/main" val="380497673"/>
                    </a:ext>
                  </a:extLst>
                </a:gridCol>
              </a:tblGrid>
              <a:tr h="262393">
                <a:tc gridSpan="3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иолис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ығын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лшегіштерін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нату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652627"/>
                  </a:ext>
                </a:extLst>
              </a:tr>
              <a:tr h="2738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БӨӨ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МҚӨӨ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182880" lvl="0" indent="0" algn="ctr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    АМӨ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788760"/>
                  </a:ext>
                </a:extLst>
              </a:tr>
              <a:tr h="210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12779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704733" y="112738"/>
            <a:ext cx="84872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жәнеМҚ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ЕПАРТАМЕНТІНІҢ ЖӘНЕ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БӨАжәнеА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ЦЕХЫНЫҢ ЖҰМЫСТАРЫ  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8864" y="4660895"/>
            <a:ext cx="2405416" cy="18220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01" y="2272755"/>
            <a:ext cx="2385713" cy="25610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4" name="Прямоугольник 23"/>
          <p:cNvSpPr/>
          <p:nvPr/>
        </p:nvSpPr>
        <p:spPr>
          <a:xfrm>
            <a:off x="612775" y="889789"/>
            <a:ext cx="8361543" cy="99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адиоизотоптық</a:t>
            </a:r>
            <a:r>
              <a:rPr lang="ru-RU" sz="14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лшеу</a:t>
            </a:r>
            <a:r>
              <a:rPr lang="ru-RU" sz="14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үрлендіргіштерімен</a:t>
            </a:r>
            <a:r>
              <a:rPr lang="ru-RU" sz="14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4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теуге</a:t>
            </a:r>
            <a:r>
              <a:rPr lang="ru-RU" sz="14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лицензия </a:t>
            </a:r>
            <a:r>
              <a:rPr lang="ru-RU" sz="14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у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: </a:t>
            </a:r>
          </a:p>
          <a:p>
            <a:pPr marR="179070" lvl="0" algn="just">
              <a:lnSpc>
                <a:spcPct val="107000"/>
              </a:lnSpc>
              <a:defRPr/>
            </a:pP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2025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20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аусымда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«ПМХЗ» ЖШС (ӨҮА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өлім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)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рамында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адиоактивт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заттар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бар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адиоактивті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заттарме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аптарме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лармен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теуге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 лицензия </a:t>
            </a:r>
            <a:r>
              <a:rPr lang="ru-RU" sz="14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ды</a:t>
            </a:r>
            <a:r>
              <a:rPr lang="ru-RU" sz="14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6955" y="774222"/>
            <a:ext cx="1400276" cy="198806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21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878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629891" y="210809"/>
            <a:ext cx="85621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жәнеМҚ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ЕПАРТАМЕНТІНІҢ ЖӘНЕ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БӨАжәнеА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ЦЕХЫНЫҢ ЖҰМЫСТАРЫ  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779033" y="651860"/>
            <a:ext cx="109475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2025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жылғы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тоқтатып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жөндеу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кезеңінде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орындалған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тексерулер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жөндеулер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2F5597"/>
                </a:solidFill>
                <a:latin typeface="Century Gothic" panose="020B0502020202020204" pitchFamily="34" charset="0"/>
                <a:ea typeface="Verdana" pitchFamily="34" charset="0"/>
                <a:cs typeface="Arial" panose="020B0604020202020204" pitchFamily="34" charset="0"/>
              </a:rPr>
              <a:t>ревизиялар</a:t>
            </a:r>
            <a:r>
              <a:rPr lang="ru-RU" sz="1600" b="1" dirty="0">
                <a:solidFill>
                  <a:srgbClr val="2F5597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</a:t>
            </a:r>
          </a:p>
          <a:p>
            <a:pPr lvl="0" algn="ctr">
              <a:defRPr/>
            </a:pPr>
            <a:r>
              <a:rPr lang="ru-RU" sz="1600" b="1" dirty="0">
                <a:solidFill>
                  <a:srgbClr val="2F5597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. 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00A4F1E7-71E6-4586-8B74-8FB171ECFC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779938"/>
              </p:ext>
            </p:extLst>
          </p:nvPr>
        </p:nvGraphicFramePr>
        <p:xfrm>
          <a:off x="235310" y="981164"/>
          <a:ext cx="11726953" cy="27537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8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02022">
                  <a:extLst>
                    <a:ext uri="{9D8B030D-6E8A-4147-A177-3AD203B41FA5}">
                      <a16:colId xmlns:a16="http://schemas.microsoft.com/office/drawing/2014/main" val="3788944565"/>
                    </a:ext>
                  </a:extLst>
                </a:gridCol>
                <a:gridCol w="1616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53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р/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тар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ізбес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н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ліп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ске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рлық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бдықтард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46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469730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хникалық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нометрлерді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69 б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6221087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ылт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ылғылары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иафрагмалард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9 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1465513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тт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с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лапандары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341418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ендт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нынд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т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ңгей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лшегіштерді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пта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5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3571564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ысымның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лш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рлендіргіш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368562"/>
                  </a:ext>
                </a:extLst>
              </a:tr>
              <a:tr h="218364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невматикалық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қыла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спаптары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4363174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ұрақт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уыспал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қ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мперметрлер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ливольтметрлер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7 б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1228537"/>
                  </a:ext>
                </a:extLst>
              </a:tr>
            </a:tbl>
          </a:graphicData>
        </a:graphic>
      </p:graphicFrame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2" r="11436"/>
          <a:stretch/>
        </p:blipFill>
        <p:spPr>
          <a:xfrm>
            <a:off x="358445" y="3878375"/>
            <a:ext cx="2510153" cy="2703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8" r="46957"/>
          <a:stretch/>
        </p:blipFill>
        <p:spPr>
          <a:xfrm>
            <a:off x="3154680" y="3878375"/>
            <a:ext cx="2484657" cy="2703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6" t="10235"/>
          <a:stretch/>
        </p:blipFill>
        <p:spPr>
          <a:xfrm>
            <a:off x="5810254" y="3878375"/>
            <a:ext cx="2947079" cy="2703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8" r="17553"/>
          <a:stretch/>
        </p:blipFill>
        <p:spPr>
          <a:xfrm>
            <a:off x="9043415" y="3878375"/>
            <a:ext cx="2740973" cy="2703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14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687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988291" y="1164896"/>
            <a:ext cx="7901708" cy="1923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en-US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Rotork</a:t>
            </a:r>
            <a:r>
              <a:rPr lang="en-US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</a:t>
            </a:r>
            <a:r>
              <a:rPr lang="ru-RU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ысырмаларының</a:t>
            </a:r>
            <a:r>
              <a:rPr lang="ru-RU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ектерін</a:t>
            </a:r>
            <a:r>
              <a:rPr lang="ru-RU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уыстыру</a:t>
            </a:r>
            <a:r>
              <a:rPr lang="ru-RU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600" b="1" u="sng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u="sng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6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: </a:t>
            </a:r>
          </a:p>
          <a:p>
            <a:pPr marR="179070" lvl="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МКТӨ СП-да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ысырмаларыны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ектерін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уыстыру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баны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езект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езең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ындал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2025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ды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інш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ртыжылдығынд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6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ег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уыстырыл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зірг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уақытт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лп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өлемнен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-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б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158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лік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en-US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Rotork</a:t>
            </a:r>
            <a:r>
              <a:rPr lang="en-US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зияткерлік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ектерінің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145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ірлігі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натылды</a:t>
            </a:r>
            <a:r>
              <a:rPr lang="ru-RU" sz="1600" dirty="0">
                <a:solidFill>
                  <a:srgbClr val="003366"/>
                </a:solidFill>
                <a:latin typeface="Century Gothic" panose="020B0502020202020204" pitchFamily="34" charset="0"/>
              </a:rPr>
              <a:t>.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/>
          <a:srcRect t="21257"/>
          <a:stretch/>
        </p:blipFill>
        <p:spPr>
          <a:xfrm>
            <a:off x="5380988" y="3004030"/>
            <a:ext cx="3509012" cy="315970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1" t="7536" r="19449" b="7826"/>
          <a:stretch/>
        </p:blipFill>
        <p:spPr>
          <a:xfrm>
            <a:off x="900641" y="3004029"/>
            <a:ext cx="3612092" cy="3285736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4" name="Прямоугольник 13"/>
          <p:cNvSpPr/>
          <p:nvPr/>
        </p:nvSpPr>
        <p:spPr>
          <a:xfrm>
            <a:off x="3620655" y="210809"/>
            <a:ext cx="85713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жәнеМҚ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ЕПАРТАМЕНТІНІҢ ЖӘНЕ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БӨАжәнеА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ЦЕХЫНЫҢ ЖҰМЫСТАРЫ 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2585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916218" y="32398"/>
            <a:ext cx="81797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 РЕСУРСТАРЫН ТҰТЫНУ, </a:t>
            </a:r>
            <a:r>
              <a:rPr lang="ru-RU" b="1" cap="all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</a:t>
            </a:r>
            <a:r>
              <a:rPr lang="ru-RU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ҮНЕМДЕУ </a:t>
            </a:r>
          </a:p>
          <a:p>
            <a:pPr algn="r"/>
            <a:r>
              <a:rPr lang="ru-RU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 ЭНЕРГИЯ ТИІМДІЛІГІН АРТТЫРУ</a:t>
            </a:r>
            <a:endParaRPr lang="ru-RU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2152864" y="5476991"/>
            <a:ext cx="8157393" cy="297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6CB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ru-RU" sz="1200" b="0" i="1">
                <a:solidFill>
                  <a:srgbClr val="0070C0"/>
                </a:solidFill>
              </a:rPr>
              <a:t> </a:t>
            </a:r>
            <a:endParaRPr lang="ru-RU" sz="1200" b="0" i="1" dirty="0">
              <a:solidFill>
                <a:srgbClr val="0070C0"/>
              </a:solidFill>
            </a:endParaRPr>
          </a:p>
        </p:txBody>
      </p:sp>
      <p:sp>
        <p:nvSpPr>
          <p:cNvPr id="38" name="TextBox 1"/>
          <p:cNvSpPr txBox="1"/>
          <p:nvPr/>
        </p:nvSpPr>
        <p:spPr>
          <a:xfrm>
            <a:off x="7767539" y="4865462"/>
            <a:ext cx="544865" cy="327450"/>
          </a:xfrm>
          <a:prstGeom prst="rect">
            <a:avLst/>
          </a:prstGeom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,2%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745883" y="3546802"/>
            <a:ext cx="2522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РЕСУРСЫ, тут</a:t>
            </a:r>
          </a:p>
        </p:txBody>
      </p:sp>
      <p:cxnSp>
        <p:nvCxnSpPr>
          <p:cNvPr id="29" name="Прямая со стрелкой 28"/>
          <p:cNvCxnSpPr/>
          <p:nvPr/>
        </p:nvCxnSpPr>
        <p:spPr>
          <a:xfrm>
            <a:off x="6605298" y="228238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6595009" y="1877352"/>
            <a:ext cx="0" cy="210393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298180"/>
              </p:ext>
            </p:extLst>
          </p:nvPr>
        </p:nvGraphicFramePr>
        <p:xfrm>
          <a:off x="571866" y="808316"/>
          <a:ext cx="9261901" cy="3850772"/>
        </p:xfrm>
        <a:graphic>
          <a:graphicData uri="http://schemas.openxmlformats.org/drawingml/2006/table">
            <a:tbl>
              <a:tblPr firstRow="1"/>
              <a:tblGrid>
                <a:gridCol w="3748377">
                  <a:extLst>
                    <a:ext uri="{9D8B030D-6E8A-4147-A177-3AD203B41FA5}">
                      <a16:colId xmlns:a16="http://schemas.microsoft.com/office/drawing/2014/main" val="2058907332"/>
                    </a:ext>
                  </a:extLst>
                </a:gridCol>
                <a:gridCol w="1093846">
                  <a:extLst>
                    <a:ext uri="{9D8B030D-6E8A-4147-A177-3AD203B41FA5}">
                      <a16:colId xmlns:a16="http://schemas.microsoft.com/office/drawing/2014/main" val="2265238087"/>
                    </a:ext>
                  </a:extLst>
                </a:gridCol>
                <a:gridCol w="1093846">
                  <a:extLst>
                    <a:ext uri="{9D8B030D-6E8A-4147-A177-3AD203B41FA5}">
                      <a16:colId xmlns:a16="http://schemas.microsoft.com/office/drawing/2014/main" val="2364124431"/>
                    </a:ext>
                  </a:extLst>
                </a:gridCol>
                <a:gridCol w="1662916">
                  <a:extLst>
                    <a:ext uri="{9D8B030D-6E8A-4147-A177-3AD203B41FA5}">
                      <a16:colId xmlns:a16="http://schemas.microsoft.com/office/drawing/2014/main" val="859303394"/>
                    </a:ext>
                  </a:extLst>
                </a:gridCol>
                <a:gridCol w="1662916">
                  <a:extLst>
                    <a:ext uri="{9D8B030D-6E8A-4147-A177-3AD203B41FA5}">
                      <a16:colId xmlns:a16="http://schemas.microsoft.com/office/drawing/2014/main" val="2565956704"/>
                    </a:ext>
                  </a:extLst>
                </a:gridCol>
              </a:tblGrid>
              <a:tr h="5440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Энергия </a:t>
                      </a:r>
                      <a:r>
                        <a:rPr lang="ru-RU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ресурсының</a:t>
                      </a:r>
                      <a:r>
                        <a:rPr lang="ru-RU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baseline="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түрі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 жылдың 1 жартыжылдығының жоспары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 жылғы 1 жартыжылдықтың нақты деректері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Тұтыну</a:t>
                      </a:r>
                      <a:r>
                        <a:rPr lang="ru-RU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baseline="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д</a:t>
                      </a:r>
                      <a:r>
                        <a:rPr lang="ru-RU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инамикасы</a:t>
                      </a:r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 жылғы жоспар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286724"/>
                  </a:ext>
                </a:extLst>
              </a:tr>
              <a:tr h="43052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ұнай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өңдеу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лемі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тонн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 758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 879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700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320684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ылу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энергияс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Гкал,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оның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ішінд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: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04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45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780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523367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3-ЖЭО-дан, "ЭЛМТГ» СӨҚ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2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21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56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062836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ншіктік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өндіріс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71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23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2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1397890"/>
                  </a:ext>
                </a:extLst>
              </a:tr>
              <a:tr h="39651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ехнологиялық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ештердің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тын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шот</a:t>
                      </a:r>
                      <a:endParaRPr lang="ru-RU" sz="14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10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10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25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71234"/>
                  </a:ext>
                </a:extLst>
              </a:tr>
              <a:tr h="38372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Электр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энергияс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МВт*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42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41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03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116272"/>
                  </a:ext>
                </a:extLst>
              </a:tr>
              <a:tr h="4057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Бір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мұнай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тоннасына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ОЭР-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нің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меншікті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тұтынуы</a:t>
                      </a:r>
                      <a:r>
                        <a:rPr lang="ru-RU" sz="1400" b="1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400" b="1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кг.ш.о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203864"/>
                          </a:solidFill>
                          <a:effectLst/>
                          <a:latin typeface="Century Gothic" panose="020B0502020202020204" pitchFamily="34" charset="0"/>
                        </a:rPr>
                        <a:t>11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203864"/>
                          </a:solidFill>
                          <a:effectLst/>
                          <a:latin typeface="Century Gothic" panose="020B0502020202020204" pitchFamily="34" charset="0"/>
                        </a:rPr>
                        <a:t>10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092081"/>
                  </a:ext>
                </a:extLst>
              </a:tr>
            </a:tbl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cxnSp>
        <p:nvCxnSpPr>
          <p:cNvPr id="43" name="Прямая со стрелкой 42"/>
          <p:cNvCxnSpPr/>
          <p:nvPr/>
        </p:nvCxnSpPr>
        <p:spPr>
          <a:xfrm flipV="1">
            <a:off x="6860722" y="2249067"/>
            <a:ext cx="5412" cy="178071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6855310" y="291614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6880052" y="390911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813497" y="5466913"/>
            <a:ext cx="572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6,6%</a:t>
            </a:r>
          </a:p>
        </p:txBody>
      </p:sp>
      <p:cxnSp>
        <p:nvCxnSpPr>
          <p:cNvPr id="31" name="Прямая со стрелкой 30"/>
          <p:cNvCxnSpPr/>
          <p:nvPr/>
        </p:nvCxnSpPr>
        <p:spPr>
          <a:xfrm>
            <a:off x="7767468" y="4897566"/>
            <a:ext cx="71" cy="2486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2984515357"/>
              </p:ext>
            </p:extLst>
          </p:nvPr>
        </p:nvGraphicFramePr>
        <p:xfrm>
          <a:off x="1081377" y="4327103"/>
          <a:ext cx="8752390" cy="2194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4" name="Прямая со стрелкой 23"/>
          <p:cNvCxnSpPr/>
          <p:nvPr/>
        </p:nvCxnSpPr>
        <p:spPr>
          <a:xfrm>
            <a:off x="6855310" y="2620723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6866834" y="320570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6880052" y="3567739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6889912" y="4390214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3355466" y="5082038"/>
            <a:ext cx="71" cy="2486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4772177" y="5401014"/>
            <a:ext cx="71" cy="2486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6321232" y="5447613"/>
            <a:ext cx="4066" cy="2986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340712" y="6546559"/>
            <a:ext cx="2522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РЕСУРСТАР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от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2092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916218" y="32398"/>
            <a:ext cx="81797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585584" fontAlgn="b"/>
            <a:r>
              <a:rPr lang="ru-RU" b="1" cap="all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ЖЫЛДЫҢ 1 ЖАРТЫЖЫЛДЫҒЫНДА ЭНЕРГИЯ ҮНЕМДЕУ ЖӘНЕ ЭНЕРГИЯ ТИІМДІЛІГІН АРТТЫРУ </a:t>
            </a:r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2152864" y="5476991"/>
            <a:ext cx="8157393" cy="297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6CB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ru-RU" sz="1200" b="0" i="1">
                <a:solidFill>
                  <a:srgbClr val="0070C0"/>
                </a:solidFill>
              </a:rPr>
              <a:t> </a:t>
            </a:r>
            <a:endParaRPr lang="ru-RU" sz="1200" b="0" i="1" dirty="0">
              <a:solidFill>
                <a:srgbClr val="0070C0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594469"/>
              </p:ext>
            </p:extLst>
          </p:nvPr>
        </p:nvGraphicFramePr>
        <p:xfrm>
          <a:off x="391885" y="998376"/>
          <a:ext cx="11504646" cy="4980259"/>
        </p:xfrm>
        <a:graphic>
          <a:graphicData uri="http://schemas.openxmlformats.org/drawingml/2006/table">
            <a:tbl>
              <a:tblPr/>
              <a:tblGrid>
                <a:gridCol w="614245">
                  <a:extLst>
                    <a:ext uri="{9D8B030D-6E8A-4147-A177-3AD203B41FA5}">
                      <a16:colId xmlns:a16="http://schemas.microsoft.com/office/drawing/2014/main" val="3233402876"/>
                    </a:ext>
                  </a:extLst>
                </a:gridCol>
                <a:gridCol w="4664304">
                  <a:extLst>
                    <a:ext uri="{9D8B030D-6E8A-4147-A177-3AD203B41FA5}">
                      <a16:colId xmlns:a16="http://schemas.microsoft.com/office/drawing/2014/main" val="3496838940"/>
                    </a:ext>
                  </a:extLst>
                </a:gridCol>
                <a:gridCol w="4441226">
                  <a:extLst>
                    <a:ext uri="{9D8B030D-6E8A-4147-A177-3AD203B41FA5}">
                      <a16:colId xmlns:a16="http://schemas.microsoft.com/office/drawing/2014/main" val="3598560004"/>
                    </a:ext>
                  </a:extLst>
                </a:gridCol>
                <a:gridCol w="1784871">
                  <a:extLst>
                    <a:ext uri="{9D8B030D-6E8A-4147-A177-3AD203B41FA5}">
                      <a16:colId xmlns:a16="http://schemas.microsoft.com/office/drawing/2014/main" val="3929494847"/>
                    </a:ext>
                  </a:extLst>
                </a:gridCol>
              </a:tblGrid>
              <a:tr h="6769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р/с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Іс-шараның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тауы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682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рындалу</a:t>
                      </a:r>
                      <a:r>
                        <a:rPr lang="ru-RU" sz="1400" b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әртебесі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682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Нәтиже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лн. 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682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820823"/>
                  </a:ext>
                </a:extLst>
              </a:tr>
              <a:tr h="8337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БӨӨ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-100, МБӨӨ С-300, МТӨӨ С-300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екцияларының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елдеткіш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бдықтарында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ЖРЖ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енгізу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ЖСҚ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әзірл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СҚ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әзірленді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араптаманың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ң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орытындыс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лынд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2025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ғ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азанда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ҚМЖ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атып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лу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8428511"/>
                  </a:ext>
                </a:extLst>
              </a:tr>
              <a:tr h="8753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БӨӨ С-400, МТӨӨ С-200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екцияларының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елдеткіш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бдықтарында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ЖРЖ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енгіз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(ҚМЖ)</a:t>
                      </a: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тар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ілуд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Кәбілдік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өнімдер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төселді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12 дана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өлемінде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ЖРЖ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рнатылд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9791098"/>
                  </a:ext>
                </a:extLst>
              </a:tr>
              <a:tr h="7081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Н-1 поз.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орғысынд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БКҚ БЛК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орғ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танцияс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) ЖРЖ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енгіз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ҚМЖ)</a:t>
                      </a: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тар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ілуд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Кәбілдік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өнімдер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төселді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. ЖРЖ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басқару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шкафтарын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жинақтау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жұмыстары</a:t>
                      </a:r>
                      <a:r>
                        <a:rPr lang="ru-RU" sz="1400" dirty="0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3366"/>
                          </a:solidFill>
                          <a:effectLst/>
                          <a:latin typeface="Century Gothic" panose="020B0502020202020204" pitchFamily="34" charset="0"/>
                        </a:rPr>
                        <a:t>жүргізілуде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413017"/>
                  </a:ext>
                </a:extLst>
              </a:tr>
              <a:tr h="875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КҚ-да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уме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бдықта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йес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ңтайландыр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нденсатты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ина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айтар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йес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ұйымдастыр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ЖСҚ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әзірле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СҚ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әзірленді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араптам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орталын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ктелді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2025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ғ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29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амыздағ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орытындын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л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0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2437381"/>
                  </a:ext>
                </a:extLst>
              </a:tr>
              <a:tr h="10106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№2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өндірісінің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уме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бдықтау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йесін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ңтайландыр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СҚ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әзірленді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араптам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орталын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үктелді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2025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ғ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19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ыркүйектегі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орытындын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лу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2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788198"/>
                  </a:ext>
                </a:extLst>
              </a:tr>
            </a:tbl>
          </a:graphicData>
        </a:graphic>
      </p:graphicFrame>
      <p:sp>
        <p:nvSpPr>
          <p:cNvPr id="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952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697705" y="170894"/>
            <a:ext cx="84942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ru-RU" b="1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МЕН ЖАБДЫҚТАУ ЦЕХЫНЫҢ ЖҰМЫСТАРЫ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8FD9195-6961-4E22-8FA6-F277FC637C1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3069" y="1415980"/>
            <a:ext cx="2216956" cy="238673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2B057AF-D5F4-421A-86CA-C2F595858662}"/>
              </a:ext>
            </a:extLst>
          </p:cNvPr>
          <p:cNvSpPr txBox="1"/>
          <p:nvPr/>
        </p:nvSpPr>
        <p:spPr>
          <a:xfrm>
            <a:off x="334771" y="776354"/>
            <a:ext cx="51131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«ПМХЗ» ЖШС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нергиясын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беру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өлу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ызметтеріне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тысты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инвестициялық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ғдарламасына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әйкес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№16 РУ-6кВ РП-080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ұяшығының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вакуумдық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жыратқышын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уыстыру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ындалды</a:t>
            </a:r>
            <a:endParaRPr lang="ru-RU" sz="1100" b="1" dirty="0">
              <a:solidFill>
                <a:srgbClr val="00336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E92A39C-DB65-40CB-B553-FF36800A7A6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73536" y="1368767"/>
            <a:ext cx="2216958" cy="236985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FCD7C0F-09D8-4F5C-9446-19D3DFE540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7531" y="1478082"/>
            <a:ext cx="2699355" cy="2253985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B09647-85F2-4F92-99D8-0C017A6E2E48}"/>
              </a:ext>
            </a:extLst>
          </p:cNvPr>
          <p:cNvSpPr/>
          <p:nvPr/>
        </p:nvSpPr>
        <p:spPr>
          <a:xfrm>
            <a:off x="5717531" y="837908"/>
            <a:ext cx="26312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, С-100, Н-101</a:t>
            </a:r>
          </a:p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00 кВт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ылыст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ғалғ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зғалтқышы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1D7C851-C57E-4614-B9E5-2E055F0114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91" y="1547286"/>
            <a:ext cx="2894865" cy="211488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48A5C73-1E6A-4F47-A126-248279A8DE96}"/>
              </a:ext>
            </a:extLst>
          </p:cNvPr>
          <p:cNvSpPr/>
          <p:nvPr/>
        </p:nvSpPr>
        <p:spPr>
          <a:xfrm>
            <a:off x="8754591" y="757047"/>
            <a:ext cx="28093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, С-100, Н-115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0 кВт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ылыст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ғалғ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зғалтқышы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8EF5F1F-EFD6-421F-B1AF-37E44C786F7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00" y="4532615"/>
            <a:ext cx="3395987" cy="209377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7298936-7D94-4EAA-B296-FF590321AFD9}"/>
              </a:ext>
            </a:extLst>
          </p:cNvPr>
          <p:cNvSpPr/>
          <p:nvPr/>
        </p:nvSpPr>
        <p:spPr>
          <a:xfrm>
            <a:off x="467100" y="3848768"/>
            <a:ext cx="3316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, С-100, Н-116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0 кВт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ылыст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ғалғ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зғалтқышы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700EEEA-04EC-4565-843E-831747FBBA5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9" t="18009" r="11680" b="7989"/>
          <a:stretch/>
        </p:blipFill>
        <p:spPr>
          <a:xfrm>
            <a:off x="4508372" y="4573656"/>
            <a:ext cx="2950439" cy="201169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83300CB-99DB-43EA-A5B6-2CABD6492DD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0" t="5001" r="2023" b="6666"/>
          <a:stretch/>
        </p:blipFill>
        <p:spPr>
          <a:xfrm>
            <a:off x="8348763" y="4532615"/>
            <a:ext cx="2950439" cy="201169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7E033882-24EC-4FF8-97A7-5FAE2FF5F10C}"/>
              </a:ext>
            </a:extLst>
          </p:cNvPr>
          <p:cNvSpPr/>
          <p:nvPr/>
        </p:nvSpPr>
        <p:spPr>
          <a:xfrm>
            <a:off x="4508372" y="3847128"/>
            <a:ext cx="25663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ТӨӨ, С-200, Н-203/4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 кВт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ылыст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ғалғ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зғалтқышы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FD6FB3B-25D6-4566-B525-151BC6E81C37}"/>
              </a:ext>
            </a:extLst>
          </p:cNvPr>
          <p:cNvSpPr/>
          <p:nvPr/>
        </p:nvSpPr>
        <p:spPr>
          <a:xfrm>
            <a:off x="8348762" y="3840372"/>
            <a:ext cx="2818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ТӨӨ, С-200, Н-208/Р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5 кВт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ылыст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ғалға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зғалтқышы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7592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Прямая соединительная линия 104"/>
          <p:cNvCxnSpPr/>
          <p:nvPr/>
        </p:nvCxnSpPr>
        <p:spPr>
          <a:xfrm flipH="1">
            <a:off x="11275069" y="5926868"/>
            <a:ext cx="3587" cy="685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Стрелка вправо 78"/>
          <p:cNvSpPr/>
          <p:nvPr/>
        </p:nvSpPr>
        <p:spPr>
          <a:xfrm>
            <a:off x="8022435" y="4492867"/>
            <a:ext cx="3777474" cy="98604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3742" y="909843"/>
            <a:ext cx="7173613" cy="3252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fontAlgn="base">
              <a:defRPr/>
            </a:pPr>
            <a:r>
              <a:rPr lang="ru-RU" sz="11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</a:t>
            </a:r>
            <a:r>
              <a:rPr lang="ru-RU" sz="115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</a:p>
          <a:p>
            <a:pPr marL="171450" lvl="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«Павлодар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йхимия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зауыт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» ЖШС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лар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ының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3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дық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оқтаусыз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өндеуаралық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езеңіне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(ЖАК)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өшу</a:t>
            </a:r>
            <a:endParaRPr lang="ru-RU" sz="1150" dirty="0">
              <a:solidFill>
                <a:srgbClr val="003366"/>
              </a:solidFill>
              <a:latin typeface="Century Gothic" panose="020B0502020202020204" pitchFamily="34" charset="0"/>
            </a:endParaRPr>
          </a:p>
          <a:p>
            <a:pPr marL="171450" lvl="0" indent="-171450" algn="just" fontAlgn="base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й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ңдеуді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ына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5,7 млн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оннадан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6,3 млн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оннаға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дейін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ұлғайту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</a:p>
          <a:p>
            <a:pPr lvl="0" algn="just" fontAlgn="base">
              <a:spcBef>
                <a:spcPts val="100"/>
              </a:spcBef>
              <a:defRPr/>
            </a:pPr>
            <a:endParaRPr lang="ru-RU" sz="1150" b="1" dirty="0">
              <a:solidFill>
                <a:srgbClr val="4472C4">
                  <a:lumMod val="50000"/>
                </a:srgbClr>
              </a:solidFill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5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С-ШАРАЛАРДЫ ІСКЕ АСЫРУ МЕРЗІМДЕРІ:</a:t>
            </a:r>
            <a:r>
              <a:rPr lang="en-US" sz="115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– 2028 </a:t>
            </a:r>
            <a:r>
              <a:rPr lang="ru-RU" sz="1150" dirty="0" err="1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ж</a:t>
            </a:r>
            <a:r>
              <a:rPr lang="ru-RU" sz="1150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5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</a:t>
            </a:r>
          </a:p>
          <a:p>
            <a:pPr marL="171450" lvl="0" indent="-171450" algn="just" fontAlgn="base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ке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ыру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үшін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-шаралар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нықталд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 algn="just" fontAlgn="base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"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зМұнайГаз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" ҰК" АҚ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Инвестициялық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митетінің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ақұлдау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 algn="just" fontAlgn="base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ҚМЖ-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ға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елісімшарттар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сасу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бдықты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кізу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ргізіліп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тыр</a:t>
            </a:r>
            <a:r>
              <a:rPr lang="ru-RU" sz="11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5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АЛДАҒЫ ІС-ШАРАЛАР:</a:t>
            </a:r>
          </a:p>
          <a:p>
            <a:pPr marL="171450" lvl="0" indent="-171450" algn="just">
              <a:spcBef>
                <a:spcPts val="1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150" dirty="0" err="1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с-шараларды</a:t>
            </a:r>
            <a:r>
              <a:rPr lang="ru-RU" sz="1150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ске</a:t>
            </a:r>
            <a:r>
              <a:rPr lang="ru-RU" sz="1150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50" dirty="0" err="1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сыру</a:t>
            </a:r>
            <a:endParaRPr lang="ru-RU" sz="1150" dirty="0">
              <a:solidFill>
                <a:srgbClr val="4472C4">
                  <a:lumMod val="50000"/>
                </a:srgb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7868180" y="3712078"/>
            <a:ext cx="3931729" cy="1683074"/>
            <a:chOff x="831184" y="3345232"/>
            <a:chExt cx="3931729" cy="1683074"/>
          </a:xfrm>
        </p:grpSpPr>
        <p:sp>
          <p:nvSpPr>
            <p:cNvPr id="12" name="Блок-схема: узел 11"/>
            <p:cNvSpPr/>
            <p:nvPr/>
          </p:nvSpPr>
          <p:spPr>
            <a:xfrm>
              <a:off x="1547530" y="4104540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Блок-схема: узел 12"/>
            <p:cNvSpPr/>
            <p:nvPr/>
          </p:nvSpPr>
          <p:spPr>
            <a:xfrm>
              <a:off x="2018311" y="4104540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Блок-схема: узел 13"/>
            <p:cNvSpPr/>
            <p:nvPr/>
          </p:nvSpPr>
          <p:spPr>
            <a:xfrm>
              <a:off x="2485934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Блок-схема: узел 14"/>
            <p:cNvSpPr/>
            <p:nvPr/>
          </p:nvSpPr>
          <p:spPr>
            <a:xfrm>
              <a:off x="3482700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2975599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 flipH="1">
              <a:off x="1193188" y="376164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H="1">
              <a:off x="1634146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 flipH="1">
              <a:off x="2075104" y="3744204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flipH="1">
              <a:off x="2548151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 flipH="1">
              <a:off x="3045577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flipH="1">
              <a:off x="3567855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 flipH="1">
              <a:off x="4055315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Левая фигурная скобка 23"/>
            <p:cNvSpPr/>
            <p:nvPr/>
          </p:nvSpPr>
          <p:spPr>
            <a:xfrm rot="16200000">
              <a:off x="2677135" y="3039853"/>
              <a:ext cx="304387" cy="3279389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85439" y="3533207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7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444484" y="35353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1871762" y="3523143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330000" y="3528111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0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2832406" y="35353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1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360106" y="354188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3849359" y="3542366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3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138373" y="4189135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4028308" y="4192203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586865" y="4191412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513458" y="4195473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2047210" y="4195474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3005460" y="4197852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3529095" y="4195754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309251" y="4720529"/>
              <a:ext cx="90281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baseline="-250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</a:t>
              </a:r>
              <a:r>
                <a:rPr kumimoji="0" lang="ru-RU" sz="1400" b="1" i="0" u="none" strike="noStrike" kern="1200" cap="none" spc="0" normalizeH="0" baseline="-2500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ақты</a:t>
              </a:r>
              <a:r>
                <a:rPr kumimoji="0" lang="ru-RU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400" b="1" i="0" u="none" strike="noStrike" kern="1200" cap="none" spc="0" normalizeH="0" baseline="-2500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езең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46" name="Прямая соединительная линия 45"/>
            <p:cNvCxnSpPr/>
            <p:nvPr/>
          </p:nvCxnSpPr>
          <p:spPr>
            <a:xfrm flipH="1">
              <a:off x="4469021" y="3772591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46"/>
            <p:cNvSpPr/>
            <p:nvPr/>
          </p:nvSpPr>
          <p:spPr>
            <a:xfrm>
              <a:off x="4261272" y="354415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4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4477257" y="4183010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831184" y="3345232"/>
              <a:ext cx="252665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just">
                <a:spcBef>
                  <a:spcPts val="100"/>
                </a:spcBef>
                <a:spcAft>
                  <a:spcPts val="200"/>
                </a:spcAft>
                <a:defRPr/>
              </a:pPr>
              <a:r>
                <a:rPr lang="ru-RU" sz="1100" b="1" dirty="0">
                  <a:solidFill>
                    <a:srgbClr val="00206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ЖОБАНЫ ІСКЕ АСЫРҒАНҒА ДЕЙІН</a:t>
              </a:r>
            </a:p>
          </p:txBody>
        </p:sp>
        <p:sp>
          <p:nvSpPr>
            <p:cNvPr id="52" name="Блок-схема: узел 51"/>
            <p:cNvSpPr/>
            <p:nvPr/>
          </p:nvSpPr>
          <p:spPr>
            <a:xfrm>
              <a:off x="1118314" y="4112935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Блок-схема: узел 52"/>
            <p:cNvSpPr/>
            <p:nvPr/>
          </p:nvSpPr>
          <p:spPr>
            <a:xfrm>
              <a:off x="3977536" y="4112935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780483" y="184750"/>
            <a:ext cx="54115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ru-RU" b="1" spc="-5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ҰЛҒАЙТЫЛҒАН ЖӨНДЕУАРАЛЫҚ КЕЗЕҢ </a:t>
            </a:r>
            <a:endParaRPr lang="ru-RU" b="1" dirty="0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7994544" y="5498701"/>
            <a:ext cx="3570483" cy="1144906"/>
            <a:chOff x="849152" y="5149590"/>
            <a:chExt cx="3570483" cy="1144906"/>
          </a:xfrm>
        </p:grpSpPr>
        <p:sp>
          <p:nvSpPr>
            <p:cNvPr id="57" name="Стрелка вправо 56"/>
            <p:cNvSpPr/>
            <p:nvPr/>
          </p:nvSpPr>
          <p:spPr>
            <a:xfrm>
              <a:off x="990635" y="5979397"/>
              <a:ext cx="3429000" cy="76200"/>
            </a:xfrm>
            <a:prstGeom prst="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58" name="Прямая соединительная линия 57"/>
            <p:cNvCxnSpPr/>
            <p:nvPr/>
          </p:nvCxnSpPr>
          <p:spPr>
            <a:xfrm flipH="1">
              <a:off x="1298701" y="5590002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/>
            <p:nvPr/>
          </p:nvCxnSpPr>
          <p:spPr>
            <a:xfrm flipH="1">
              <a:off x="2653664" y="558871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Прямоугольник 59"/>
            <p:cNvSpPr/>
            <p:nvPr/>
          </p:nvSpPr>
          <p:spPr>
            <a:xfrm>
              <a:off x="1090952" y="5361569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2449502" y="5381109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1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3936584" y="53615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4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1243886" y="6017497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2162534" y="6000947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849152" y="5149590"/>
              <a:ext cx="263565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just">
                <a:spcBef>
                  <a:spcPts val="100"/>
                </a:spcBef>
                <a:spcAft>
                  <a:spcPts val="200"/>
                </a:spcAft>
                <a:defRPr/>
              </a:pPr>
              <a:r>
                <a:rPr lang="ru-RU" sz="1100" b="1" dirty="0">
                  <a:solidFill>
                    <a:srgbClr val="00206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ЖОБАНЫ ІСКЕ АСЫРҒАННАН КЕЙІН</a:t>
              </a:r>
            </a:p>
          </p:txBody>
        </p:sp>
        <p:cxnSp>
          <p:nvCxnSpPr>
            <p:cNvPr id="68" name="Прямая соединительная линия 67"/>
            <p:cNvCxnSpPr/>
            <p:nvPr/>
          </p:nvCxnSpPr>
          <p:spPr>
            <a:xfrm flipH="1">
              <a:off x="1753059" y="558449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 flipH="1">
              <a:off x="2204915" y="558871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 flipH="1">
              <a:off x="3107825" y="5592965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 flipH="1">
              <a:off x="3618211" y="558449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Прямоугольник 71"/>
            <p:cNvSpPr/>
            <p:nvPr/>
          </p:nvSpPr>
          <p:spPr>
            <a:xfrm>
              <a:off x="1536462" y="5372206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1976300" y="5378745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0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2898439" y="5382481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3434603" y="537072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3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Блок-схема: узел 76"/>
            <p:cNvSpPr/>
            <p:nvPr/>
          </p:nvSpPr>
          <p:spPr>
            <a:xfrm>
              <a:off x="2134360" y="5947635"/>
              <a:ext cx="152400" cy="1524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Блок-схема: узел 77"/>
            <p:cNvSpPr/>
            <p:nvPr/>
          </p:nvSpPr>
          <p:spPr>
            <a:xfrm>
              <a:off x="1215360" y="5941297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164002" y="3451359"/>
            <a:ext cx="240161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ӨНДЕУ КЕЗЕҢІНІҢ ҚҰРЫЛЫМЫ: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Блок-схема: узел 82"/>
          <p:cNvSpPr/>
          <p:nvPr/>
        </p:nvSpPr>
        <p:spPr>
          <a:xfrm>
            <a:off x="10687403" y="6297334"/>
            <a:ext cx="152400" cy="152400"/>
          </a:xfrm>
          <a:prstGeom prst="flowChartConnector">
            <a:avLst/>
          </a:prstGeom>
          <a:solidFill>
            <a:srgbClr val="FF2600"/>
          </a:solidFill>
          <a:ln>
            <a:solidFill>
              <a:srgbClr val="FF2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0739092" y="6430142"/>
            <a:ext cx="3161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КР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26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5" name="Блок-схема: узел 84"/>
          <p:cNvSpPr/>
          <p:nvPr/>
        </p:nvSpPr>
        <p:spPr>
          <a:xfrm>
            <a:off x="11433989" y="4479781"/>
            <a:ext cx="15240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845" y="835289"/>
            <a:ext cx="4062475" cy="269759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265" y="3770566"/>
            <a:ext cx="7240627" cy="2895410"/>
          </a:xfrm>
          <a:prstGeom prst="rect">
            <a:avLst/>
          </a:prstGeom>
        </p:spPr>
      </p:pic>
      <p:sp>
        <p:nvSpPr>
          <p:cNvPr id="76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61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Прямая соединительная линия 78"/>
          <p:cNvCxnSpPr/>
          <p:nvPr/>
        </p:nvCxnSpPr>
        <p:spPr>
          <a:xfrm>
            <a:off x="6170236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8965012" y="183759"/>
            <a:ext cx="30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ДАМУ</a:t>
            </a:r>
            <a:r>
              <a:rPr kumimoji="0" lang="kk-KZ" altLang="ru-RU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ЖОБАЛАРЫ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3" name="Freeform 13">
            <a:extLst>
              <a:ext uri="{FF2B5EF4-FFF2-40B4-BE49-F238E27FC236}">
                <a16:creationId xmlns:a16="http://schemas.microsoft.com/office/drawing/2014/main" id="{F92BB8F4-87D7-4EBF-892F-3684E93BB48E}"/>
              </a:ext>
            </a:extLst>
          </p:cNvPr>
          <p:cNvSpPr>
            <a:spLocks/>
          </p:cNvSpPr>
          <p:nvPr/>
        </p:nvSpPr>
        <p:spPr bwMode="auto">
          <a:xfrm>
            <a:off x="269685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4D5B0D8-F047-444B-BFA3-4947F6C26F03}"/>
              </a:ext>
            </a:extLst>
          </p:cNvPr>
          <p:cNvSpPr/>
          <p:nvPr/>
        </p:nvSpPr>
        <p:spPr>
          <a:xfrm>
            <a:off x="80882" y="691104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СЕНІМДІ ЖӘНЕ АВАРИЯСЫЗ ЖҰМЫСТЫ ҚАМТАМАСЫЗ ЕТУ ҮШІН «ПМХЗ» ЖШС-де МҰНАЙДЫ ТЕРЕҢ ӨНДІРУ ӨНДІРІСІН ЖАҢАРТУ»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7AAF53B-3A48-4A3F-9FE6-4EC466F174D5}"/>
              </a:ext>
            </a:extLst>
          </p:cNvPr>
          <p:cNvSpPr txBox="1"/>
          <p:nvPr/>
        </p:nvSpPr>
        <p:spPr>
          <a:xfrm>
            <a:off x="705" y="1157598"/>
            <a:ext cx="6017784" cy="4337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еңейтілге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өндеуара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езеңг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өш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ұнай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тере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ңде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ндірісіні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енімді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вариясыз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ұмыс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ет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ш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ұнай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німдері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ңде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тереңдігі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ығарылу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ұлғайт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МТӨӨ С-100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ндырғыс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БКҚ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уыр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азойлі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ңдеуг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тарт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. 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ТӨӨ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ндірісіні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аталитика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крекинг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икізат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идротазарт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аталитика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крекинг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ректификацияла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бсорбцияла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азбе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фракцияла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икізат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идротазарт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ндырғылары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UOP 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лицензиар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омпаниясыны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база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сын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әйкес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елуін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л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еткізу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lvl="0">
              <a:defRPr/>
            </a:pP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 ІСКЕ АСЫР МЕРЗМДЕРІ :</a:t>
            </a:r>
            <a:endParaRPr lang="ru-RU" sz="5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8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5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defRPr/>
            </a:pP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 ЖОБАСЫНЫҢ ӘЗІРЛЕУШІСІ:</a:t>
            </a:r>
            <a:endParaRPr lang="ru-RU" sz="5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ЭОН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ЖШС</a:t>
            </a:r>
          </a:p>
          <a:p>
            <a:pPr lvl="0" algn="just">
              <a:spcBef>
                <a:spcPts val="100"/>
              </a:spcBef>
              <a:defRPr/>
            </a:pPr>
            <a:endParaRPr lang="ru-RU" sz="5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ұжаттамас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100%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өлемінд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әзірленді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емлекеттік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араптаманы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рытындыс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.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Э-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де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ала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рытын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ІБЖ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метасын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БЭ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рытындыс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ТЭЖК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үргізілді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Инвестициялық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омитетті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н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іск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сыруғ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ң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рытындыс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"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AVC Production"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омпаниясыме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асалға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н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іск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сыруғ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тыст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артқ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л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йылд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 </a:t>
            </a:r>
          </a:p>
          <a:p>
            <a:pPr marL="171450" lvl="0" indent="-171450" algn="just">
              <a:spcBef>
                <a:spcPts val="100"/>
              </a:spcBef>
              <a:buFont typeface="Wingdings" panose="05000000000000000000" pitchFamily="2" charset="2"/>
              <a:buChar char="§"/>
              <a:defRPr/>
            </a:pP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бастапқы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еңес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ткізілді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US" altLang="ru-RU" sz="100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  <a:ea typeface="Times New Roman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7087ED60-7782-4163-A27A-8FBAC03D38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163" t="19770" r="42519" b="9156"/>
          <a:stretch/>
        </p:blipFill>
        <p:spPr>
          <a:xfrm>
            <a:off x="4133187" y="2412246"/>
            <a:ext cx="1787213" cy="28230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1" name="Picture 2" descr="C:\Users\ERNAR\Desktop\Yerlan\uop_logo.gif">
            <a:extLst>
              <a:ext uri="{FF2B5EF4-FFF2-40B4-BE49-F238E27FC236}">
                <a16:creationId xmlns:a16="http://schemas.microsoft.com/office/drawing/2014/main" id="{5A566091-568E-44C4-A95C-E1CA6C2A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465" y="2443386"/>
            <a:ext cx="708595" cy="403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42152F2-3516-4F08-A3AA-6932C528065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4" t="21856" r="4553" b="22827"/>
          <a:stretch/>
        </p:blipFill>
        <p:spPr>
          <a:xfrm>
            <a:off x="3745658" y="4899884"/>
            <a:ext cx="726730" cy="406364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EB34053-7196-40D9-9649-441B1621960E}"/>
              </a:ext>
            </a:extLst>
          </p:cNvPr>
          <p:cNvSpPr/>
          <p:nvPr/>
        </p:nvSpPr>
        <p:spPr>
          <a:xfrm>
            <a:off x="325891" y="5391993"/>
            <a:ext cx="1430200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-100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сы</a:t>
            </a: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0F29E270-A19D-4FCA-9058-DDBB9D833368}"/>
              </a:ext>
            </a:extLst>
          </p:cNvPr>
          <p:cNvGrpSpPr/>
          <p:nvPr/>
        </p:nvGrpSpPr>
        <p:grpSpPr>
          <a:xfrm>
            <a:off x="88727" y="5692173"/>
            <a:ext cx="1999541" cy="1065981"/>
            <a:chOff x="485760" y="4399011"/>
            <a:chExt cx="1599975" cy="837875"/>
          </a:xfrm>
        </p:grpSpPr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B6E233D2-A5D3-4B65-B724-49598FDE3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5760" y="4425215"/>
              <a:ext cx="1589187" cy="801215"/>
            </a:xfrm>
            <a:prstGeom prst="rect">
              <a:avLst/>
            </a:prstGeom>
          </p:spPr>
        </p:pic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8BBDB7A0-68CC-44DD-8816-4C7B457B06B8}"/>
                </a:ext>
              </a:extLst>
            </p:cNvPr>
            <p:cNvSpPr/>
            <p:nvPr/>
          </p:nvSpPr>
          <p:spPr>
            <a:xfrm>
              <a:off x="501394" y="4399011"/>
              <a:ext cx="1584341" cy="837875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86B158AB-8666-4AD9-BCD2-7EAA843D6C2B}"/>
              </a:ext>
            </a:extLst>
          </p:cNvPr>
          <p:cNvGrpSpPr/>
          <p:nvPr/>
        </p:nvGrpSpPr>
        <p:grpSpPr>
          <a:xfrm>
            <a:off x="2138261" y="5690314"/>
            <a:ext cx="1886460" cy="1065981"/>
            <a:chOff x="2295574" y="4392662"/>
            <a:chExt cx="1615725" cy="853137"/>
          </a:xfrm>
        </p:grpSpPr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A49BACBA-655B-4112-9F6C-C2F724A56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95574" y="4415135"/>
              <a:ext cx="1615725" cy="816179"/>
            </a:xfrm>
            <a:prstGeom prst="rect">
              <a:avLst/>
            </a:prstGeom>
          </p:spPr>
        </p:pic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F8BB0D59-BDBB-4B4B-84DF-0845D582350B}"/>
                </a:ext>
              </a:extLst>
            </p:cNvPr>
            <p:cNvSpPr/>
            <p:nvPr/>
          </p:nvSpPr>
          <p:spPr>
            <a:xfrm>
              <a:off x="2295574" y="4392662"/>
              <a:ext cx="1615725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FF26343A-5EF9-485C-A6AA-D1DF0D67D8BD}"/>
              </a:ext>
            </a:extLst>
          </p:cNvPr>
          <p:cNvSpPr/>
          <p:nvPr/>
        </p:nvSpPr>
        <p:spPr>
          <a:xfrm>
            <a:off x="2287365" y="5362689"/>
            <a:ext cx="1430200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-200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с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C35F20AE-8970-406E-B820-57075C0E56C0}"/>
              </a:ext>
            </a:extLst>
          </p:cNvPr>
          <p:cNvGrpSpPr/>
          <p:nvPr/>
        </p:nvGrpSpPr>
        <p:grpSpPr>
          <a:xfrm>
            <a:off x="2873719" y="5635221"/>
            <a:ext cx="3046682" cy="1121074"/>
            <a:chOff x="2997737" y="4421485"/>
            <a:chExt cx="2649940" cy="859129"/>
          </a:xfrm>
        </p:grpSpPr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145E90CA-706D-4CD0-8475-88D48F9E7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93197" y="4421485"/>
              <a:ext cx="1554480" cy="816179"/>
            </a:xfrm>
            <a:prstGeom prst="rect">
              <a:avLst/>
            </a:prstGeom>
          </p:spPr>
        </p:pic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917F74DA-B05A-4290-A730-30D395D2BE4D}"/>
                </a:ext>
              </a:extLst>
            </p:cNvPr>
            <p:cNvSpPr/>
            <p:nvPr/>
          </p:nvSpPr>
          <p:spPr>
            <a:xfrm>
              <a:off x="2997737" y="4427477"/>
              <a:ext cx="1643699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E63D4565-2E6F-4CE2-9466-C4DA3848FDD0}"/>
              </a:ext>
            </a:extLst>
          </p:cNvPr>
          <p:cNvSpPr/>
          <p:nvPr/>
        </p:nvSpPr>
        <p:spPr>
          <a:xfrm>
            <a:off x="4319837" y="5363532"/>
            <a:ext cx="1430200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-300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сы</a:t>
            </a: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78" name="Google Shape;91;p1">
            <a:extLst>
              <a:ext uri="{FF2B5EF4-FFF2-40B4-BE49-F238E27FC236}">
                <a16:creationId xmlns:a16="http://schemas.microsoft.com/office/drawing/2014/main" id="{D9C6A583-A9DE-4803-B110-E80105DAE5C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 l="15191" t="1489" r="22421" b="11394"/>
          <a:stretch/>
        </p:blipFill>
        <p:spPr>
          <a:xfrm>
            <a:off x="10381673" y="1276463"/>
            <a:ext cx="1777399" cy="1805904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19312947-7233-4C29-9D04-C0D69ABB654E}"/>
              </a:ext>
            </a:extLst>
          </p:cNvPr>
          <p:cNvSpPr/>
          <p:nvPr/>
        </p:nvSpPr>
        <p:spPr>
          <a:xfrm>
            <a:off x="6425395" y="739141"/>
            <a:ext cx="5587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УТЕК ӨНДІРУ ҚОНДЫРҒЫСЫНЫҢ ҚҰРЫЛЫСЫ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3B10905-E8B4-45E8-8153-C05B71EBCCEC}"/>
              </a:ext>
            </a:extLst>
          </p:cNvPr>
          <p:cNvSpPr txBox="1"/>
          <p:nvPr/>
        </p:nvSpPr>
        <p:spPr>
          <a:xfrm>
            <a:off x="6223889" y="1265383"/>
            <a:ext cx="4462584" cy="2305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defRPr/>
            </a:pPr>
            <a:r>
              <a:rPr lang="ru-RU" sz="9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</a:t>
            </a:r>
          </a:p>
          <a:p>
            <a:pPr lvl="0" fontAlgn="base">
              <a:defRPr/>
            </a:pPr>
            <a:endParaRPr lang="ru-RU" sz="9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buFont typeface="Wingdings" panose="05000000000000000000" pitchFamily="2" charset="2"/>
              <a:buChar char="§"/>
              <a:defRPr/>
            </a:pP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ысқы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дизель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тынын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ндіру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онымен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тар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шық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ұнай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німдерінің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сымша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өлшерін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ығару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ақсатында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ПМХЗ-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і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утегімен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ету</a:t>
            </a:r>
            <a:endParaRPr lang="ru-RU" sz="90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lvl="0" fontAlgn="base">
              <a:defRPr/>
            </a:pPr>
            <a:endParaRPr lang="ru-RU" sz="9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9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СКЕ АСЫР МЕРЗМДЕРІ: </a:t>
            </a:r>
            <a:r>
              <a:rPr lang="en-US" sz="9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9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ru-RU" sz="9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buFont typeface="Wingdings" panose="05000000000000000000" pitchFamily="2" charset="2"/>
              <a:buChar char="§"/>
              <a:defRPr/>
            </a:pP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 2026 </a:t>
            </a:r>
            <a:r>
              <a:rPr lang="ru-RU" sz="9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ыркүйек</a:t>
            </a: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defRPr/>
            </a:pPr>
            <a:endParaRPr lang="ru-RU" sz="9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9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НДЫРҒЫНЫҢ ӨНІМДІЛІГІ: </a:t>
            </a: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 500 Нм3/с</a:t>
            </a:r>
          </a:p>
          <a:p>
            <a:pPr lvl="0">
              <a:defRPr/>
            </a:pPr>
            <a:endParaRPr lang="ru-RU" sz="9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sz="9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ПСЫРЫС БЕРУШІ (ӨНІМ БЕРУШІ): </a:t>
            </a:r>
          </a:p>
          <a:p>
            <a:pPr lvl="0" algn="just">
              <a:defRPr/>
            </a:pPr>
            <a:endParaRPr lang="ru-RU" sz="9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>
              <a:buFont typeface="Wingdings" panose="05000000000000000000" pitchFamily="2" charset="2"/>
              <a:buChar char="§"/>
              <a:defRPr/>
            </a:pP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Эр </a:t>
            </a:r>
            <a:r>
              <a:rPr lang="ru-RU" sz="9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икид</a:t>
            </a: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унай</a:t>
            </a:r>
            <a:r>
              <a:rPr lang="ru-RU" sz="9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ех Газы» ЖШС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C2415901-58DA-4DC0-A4F0-15E91547455D}"/>
              </a:ext>
            </a:extLst>
          </p:cNvPr>
          <p:cNvSpPr/>
          <p:nvPr/>
        </p:nvSpPr>
        <p:spPr>
          <a:xfrm>
            <a:off x="6223889" y="3331608"/>
            <a:ext cx="5789123" cy="1810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100"/>
              </a:spcBef>
              <a:defRPr/>
            </a:pP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: 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PDP 100%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әзірленді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E&amp;C 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ольша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лау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рындал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;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обасын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әзірле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- 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100%.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абдықт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еткізуг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тапсырыстар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рналастыр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шарттар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асас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– 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85%.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2025 </a:t>
            </a:r>
            <a:r>
              <a:rPr lang="ru-RU" sz="1050" b="1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13 </a:t>
            </a:r>
            <a:r>
              <a:rPr lang="ru-RU" sz="1050" b="1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қпанда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1 Транш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еси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(51 млн.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еуро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)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2025 </a:t>
            </a:r>
            <a:r>
              <a:rPr lang="ru-RU" sz="1050" b="1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29 </a:t>
            </a:r>
            <a:r>
              <a:rPr lang="ru-RU" sz="1050" b="1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әуірде</a:t>
            </a: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Ж-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ға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емлекеттік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араптаманың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ң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орытындыс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ынды</a:t>
            </a:r>
            <a:endParaRPr lang="ru-RU" sz="105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заншұңқыр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әзірле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далар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ағ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яқталд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.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Іргетасқа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рналған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бетон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егізді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дайында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үргізілуд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 algn="just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ҚМГ ИК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өткіз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есие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2 транш (65 млн.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еуро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)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лу</a:t>
            </a: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үтілуде</a:t>
            </a:r>
            <a:endParaRPr lang="ru-RU" sz="105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E1DD29A6-632C-4D97-983E-46CD20E990E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89"/>
          <a:stretch/>
        </p:blipFill>
        <p:spPr>
          <a:xfrm>
            <a:off x="6593445" y="5131653"/>
            <a:ext cx="2124740" cy="16065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127000"/>
          </a:effectLst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37DD1107-AD83-4943-83F9-0F6C2E88A3F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27" y="5131192"/>
            <a:ext cx="2109973" cy="1569553"/>
          </a:xfrm>
          <a:prstGeom prst="rect">
            <a:avLst/>
          </a:prstGeom>
          <a:effectLst>
            <a:outerShdw blurRad="190500" dist="50800" algn="ctr" rotWithShape="0">
              <a:srgbClr val="000000">
                <a:alpha val="70000"/>
              </a:srgbClr>
            </a:outerShdw>
            <a:softEdge rad="127000"/>
          </a:effectLst>
        </p:spPr>
      </p:pic>
      <p:sp>
        <p:nvSpPr>
          <p:cNvPr id="34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04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841402" y="64550"/>
            <a:ext cx="618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ӨНДІРІСТІК КӨРСЕТКІШТЕРДІ ОРЫНДАУ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714259"/>
              </p:ext>
            </p:extLst>
          </p:nvPr>
        </p:nvGraphicFramePr>
        <p:xfrm>
          <a:off x="729753" y="1006362"/>
          <a:ext cx="10843308" cy="57710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2283">
                  <a:extLst>
                    <a:ext uri="{9D8B030D-6E8A-4147-A177-3AD203B41FA5}">
                      <a16:colId xmlns:a16="http://schemas.microsoft.com/office/drawing/2014/main" val="3211243061"/>
                    </a:ext>
                  </a:extLst>
                </a:gridCol>
                <a:gridCol w="2226720">
                  <a:extLst>
                    <a:ext uri="{9D8B030D-6E8A-4147-A177-3AD203B41FA5}">
                      <a16:colId xmlns:a16="http://schemas.microsoft.com/office/drawing/2014/main" val="629859277"/>
                    </a:ext>
                  </a:extLst>
                </a:gridCol>
                <a:gridCol w="1949357">
                  <a:extLst>
                    <a:ext uri="{9D8B030D-6E8A-4147-A177-3AD203B41FA5}">
                      <a16:colId xmlns:a16="http://schemas.microsoft.com/office/drawing/2014/main" val="3952526180"/>
                    </a:ext>
                  </a:extLst>
                </a:gridCol>
                <a:gridCol w="1502474">
                  <a:extLst>
                    <a:ext uri="{9D8B030D-6E8A-4147-A177-3AD203B41FA5}">
                      <a16:colId xmlns:a16="http://schemas.microsoft.com/office/drawing/2014/main" val="4033056423"/>
                    </a:ext>
                  </a:extLst>
                </a:gridCol>
                <a:gridCol w="1502474">
                  <a:extLst>
                    <a:ext uri="{9D8B030D-6E8A-4147-A177-3AD203B41FA5}">
                      <a16:colId xmlns:a16="http://schemas.microsoft.com/office/drawing/2014/main" val="959035721"/>
                    </a:ext>
                  </a:extLst>
                </a:gridCol>
              </a:tblGrid>
              <a:tr h="4665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Атауы</a:t>
                      </a:r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ҚР ЭМ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kk-K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жартыжылдықтағы жоспар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kk-K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жартыжылдықтың нақты деректер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Ауытқу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Болжалды</a:t>
                      </a:r>
                      <a:r>
                        <a:rPr lang="ru-RU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2025 </a:t>
                      </a:r>
                      <a:r>
                        <a:rPr lang="ru-RU" sz="1400" b="1" i="0" u="none" strike="noStrike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жыл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63572"/>
                  </a:ext>
                </a:extLst>
              </a:tr>
              <a:tr h="302098">
                <a:tc vMerge="1">
                  <a:txBody>
                    <a:bodyPr/>
                    <a:lstStyle/>
                    <a:p>
                      <a:pPr algn="l" rtl="0" fontAlgn="ctr"/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482" marR="8482" marT="8482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а</a:t>
                      </a: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260524"/>
                  </a:ext>
                </a:extLst>
              </a:tr>
              <a:tr h="32641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Шикізатты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өңдеу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 80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 876 15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6 15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5 70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21453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36660"/>
                  </a:ext>
                </a:extLst>
              </a:tr>
              <a:tr h="2763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ұйылтылған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газ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58 26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44 55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13 70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80 87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581063"/>
                  </a:ext>
                </a:extLst>
              </a:tr>
              <a:tr h="30735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бензиндер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94 88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30 44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5 56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1 673 1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883891"/>
                  </a:ext>
                </a:extLst>
              </a:tr>
              <a:tr h="33955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     Аи-92</a:t>
                      </a: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39 88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97 3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7 43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1 158 00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65096"/>
                  </a:ext>
                </a:extLst>
              </a:tr>
              <a:tr h="3343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Аи-95/98</a:t>
                      </a: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55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33 1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21 87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515 1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459046"/>
                  </a:ext>
                </a:extLst>
              </a:tr>
              <a:tr h="28925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иаотын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8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3 94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 94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07 94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20862"/>
                  </a:ext>
                </a:extLst>
              </a:tr>
              <a:tr h="2629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</a:t>
                      </a:r>
                      <a:r>
                        <a:rPr lang="en-US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kk-KZ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дизель отыны 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37 90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 022 18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4 27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 043 90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564912"/>
                  </a:ext>
                </a:extLst>
              </a:tr>
              <a:tr h="2774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итум 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89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90 23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 23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367 23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017641"/>
                  </a:ext>
                </a:extLst>
              </a:tr>
              <a:tr h="2717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kk-KZ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азут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28 47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19 60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8 87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408 80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23365"/>
                  </a:ext>
                </a:extLst>
              </a:tr>
              <a:tr h="2699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еш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тыны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196668"/>
                  </a:ext>
                </a:extLst>
              </a:tr>
              <a:tr h="26079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кс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1 6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9 57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 96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80 79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674796"/>
                  </a:ext>
                </a:extLst>
              </a:tr>
              <a:tr h="27082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үкірт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5 80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9 09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 28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59 98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832028"/>
                  </a:ext>
                </a:extLst>
              </a:tr>
              <a:tr h="3418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тын</a:t>
                      </a:r>
                      <a:r>
                        <a:rPr lang="en-US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ысыраптар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үйген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кс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,2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,2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1,0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6,3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144228"/>
                  </a:ext>
                </a:extLst>
              </a:tr>
              <a:tr h="3612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Өңдеу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ереңдігі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1,0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91,8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,8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92,2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371059"/>
                  </a:ext>
                </a:extLst>
              </a:tr>
              <a:tr h="39318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шық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ұнай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өнімдерінің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үсімі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1,3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3,4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B05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,0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73,8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340641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0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67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8875437" y="189030"/>
            <a:ext cx="32423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ДАМУ</a:t>
            </a:r>
            <a:r>
              <a:rPr kumimoji="0" lang="kk-KZ" altLang="ru-RU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ЖОБАЛАРЫ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50506" y="710506"/>
            <a:ext cx="115316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АРАФИНСІЗДЕНДІРУ БЛОГІН БІРІКТІРЕ ОТЫРЫП, ДО ГТ ҚОНДЫРҒЫСЫН ЖАҢАРТУ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4E311CB8-8A14-4218-93C6-B5685DF729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32" b="24342"/>
          <a:stretch/>
        </p:blipFill>
        <p:spPr>
          <a:xfrm>
            <a:off x="9813303" y="1207450"/>
            <a:ext cx="1184065" cy="620813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4DE2BE2-F3FF-467D-AF03-0E50950123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771" y="1185192"/>
            <a:ext cx="672986" cy="61470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50347" y="987505"/>
            <a:ext cx="6652377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Лайлан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мпературас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минус 28℃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ысқ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дизель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тынын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</a:p>
          <a:p>
            <a:pPr lvl="0"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СКЕ АСЫР МЕРЗМДЕРІ: 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19-202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defRPr/>
            </a:pPr>
            <a:endParaRPr lang="ru-RU" sz="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НДЫРҒЫНЫҢ ӨНІМДІЛІГІ: 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ын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60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онна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ысқ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изель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ыны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100"/>
              </a:spcBef>
              <a:defRPr/>
            </a:pPr>
            <a:endParaRPr lang="ru-RU" sz="1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10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ЕРС-МЕРДІГЕР:  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PCM Group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ЖШС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8" name="Picture 2" descr="0ECBEBD8-4B66-4AD8-A464-9F066EF24FA9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68" r="478" b="4673"/>
          <a:stretch/>
        </p:blipFill>
        <p:spPr bwMode="auto">
          <a:xfrm>
            <a:off x="7136498" y="2025950"/>
            <a:ext cx="4613259" cy="298911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Прямоугольник 38"/>
          <p:cNvSpPr/>
          <p:nvPr/>
        </p:nvSpPr>
        <p:spPr>
          <a:xfrm>
            <a:off x="50347" y="2750961"/>
            <a:ext cx="6568751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100"/>
              </a:spcBef>
              <a:spcAft>
                <a:spcPts val="600"/>
              </a:spcAft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 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сы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ЭН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зет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бдықт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ткіз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5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МЖ – 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8,4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.</a:t>
            </a:r>
          </a:p>
          <a:p>
            <a:pPr lvl="0" algn="just">
              <a:spcBef>
                <a:spcPts val="100"/>
              </a:spcBef>
              <a:defRPr/>
            </a:pP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обасы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"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Мемсараптама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" РМК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өтті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ң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орытынды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лынды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.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ұрылыс-монтаждау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үргізіліп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атыр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</a:rPr>
              <a:t>.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0" name="Рисунок 29" descr="Изображение выглядит как стальной, инжиниринг, снимок экрана, промышленность&#10;&#10;Автоматически созданное описание">
            <a:extLst>
              <a:ext uri="{FF2B5EF4-FFF2-40B4-BE49-F238E27FC236}">
                <a16:creationId xmlns:a16="http://schemas.microsoft.com/office/drawing/2014/main" id="{92748E34-0161-2EE9-3774-EA01A184F0A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9" r="935"/>
          <a:stretch/>
        </p:blipFill>
        <p:spPr>
          <a:xfrm>
            <a:off x="205101" y="4200213"/>
            <a:ext cx="3178494" cy="24069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" name="Рисунок 31" descr="Изображение выглядит как строительство, инжиниринг, на открытом воздухе, завод&#10;&#10;Автоматически созданное описание">
            <a:extLst>
              <a:ext uri="{FF2B5EF4-FFF2-40B4-BE49-F238E27FC236}">
                <a16:creationId xmlns:a16="http://schemas.microsoft.com/office/drawing/2014/main" id="{FB7F8FA9-8BC1-2880-2A87-CFF7368C0A6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" b="1660"/>
          <a:stretch/>
        </p:blipFill>
        <p:spPr>
          <a:xfrm>
            <a:off x="3738368" y="4162310"/>
            <a:ext cx="3209928" cy="24250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5" name="Freeform 13">
            <a:extLst>
              <a:ext uri="{FF2B5EF4-FFF2-40B4-BE49-F238E27FC236}">
                <a16:creationId xmlns:a16="http://schemas.microsoft.com/office/drawing/2014/main" id="{B0366FF8-F53B-4005-A719-7048FD8B7294}"/>
              </a:ext>
            </a:extLst>
          </p:cNvPr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3">
            <a:extLst>
              <a:ext uri="{FF2B5EF4-FFF2-40B4-BE49-F238E27FC236}">
                <a16:creationId xmlns:a16="http://schemas.microsoft.com/office/drawing/2014/main" id="{CC02011B-6CE0-4C52-881F-9E42600972FC}"/>
              </a:ext>
            </a:extLst>
          </p:cNvPr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Прямая соединительная линия 78"/>
          <p:cNvCxnSpPr/>
          <p:nvPr/>
        </p:nvCxnSpPr>
        <p:spPr>
          <a:xfrm>
            <a:off x="6151574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281672" y="180785"/>
            <a:ext cx="28290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kk-KZ" alt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У ЖОБАЛАРЫ</a:t>
            </a:r>
            <a:endParaRPr lang="ru-RU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5712643" y="788490"/>
            <a:ext cx="60818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№7 ГРАДИРНЯНЫ ЖАҢАРТУ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-83131" y="677456"/>
            <a:ext cx="63178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МХЗ ТАУАР-ШИКІЗАТ ПАРКІНІҢ (ТШП) АВТОМАТТЫ ӨРТ ДАБЫЛЫ ЖӘНЕ АВТОМАТТЫ ӨРТ СӨНДІРУ ЖҮЙЕСІН ЖАҢАРТУ 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47" y="4288912"/>
            <a:ext cx="1529167" cy="115295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052" y="5581797"/>
            <a:ext cx="1529166" cy="114687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097" y="4338639"/>
            <a:ext cx="1537276" cy="1164771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38" y="5585963"/>
            <a:ext cx="1523614" cy="114271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9481" y="4338467"/>
            <a:ext cx="1999949" cy="115295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9481" y="5581797"/>
            <a:ext cx="1977096" cy="114687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67887" y="1191877"/>
            <a:ext cx="5930237" cy="176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 </a:t>
            </a:r>
          </a:p>
          <a:p>
            <a:pPr lvl="0" algn="just">
              <a:defRPr/>
            </a:pP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Павлодар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блыс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ТЖД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ұйғарымына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әйкес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ртті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уақытыл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нықта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дамдард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рт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урал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хабардар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ет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ұйыққойма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аркінің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рт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өндір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ларын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втоматт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сқар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йесімен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ет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үмкіндігі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pPr lvl="0">
              <a:defRPr/>
            </a:pPr>
            <a:endParaRPr lang="ru-RU" sz="7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КЕЗЕҢДЕРДІ ІСКЕ АСЫРУ МЕРЗІМДЕРІ:  </a:t>
            </a:r>
          </a:p>
          <a:p>
            <a:pPr lvl="0"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2-2024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ж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defRPr/>
            </a:pP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МЕРДІГЕР:  </a:t>
            </a:r>
          </a:p>
          <a:p>
            <a:pPr lvl="0">
              <a:defRPr/>
            </a:pP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en-US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-Production» </a:t>
            </a:r>
            <a:r>
              <a:rPr lang="kk-KZ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ШС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7887" y="2853870"/>
            <a:ext cx="5544756" cy="1397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</a:t>
            </a: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рылыс-монтажда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ының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дайындығ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- 100%; 2025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18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мыздан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стап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бырлард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өбікпен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лмастыруға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йені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втоматт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ежимде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ынамалық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ке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суд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діруге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іріс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спарланад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ІБЖ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яқтал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тысында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бъектіні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2025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ылдың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ыркүйек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йында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ке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су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спарланады</a:t>
            </a:r>
            <a:r>
              <a:rPr lang="ru-RU" sz="11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endParaRPr lang="ru-RU" sz="1100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51574" y="1191877"/>
            <a:ext cx="5707863" cy="2039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defRPr/>
            </a:pP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</a:t>
            </a:r>
          </a:p>
          <a:p>
            <a:pPr lvl="0" algn="just">
              <a:defRPr/>
            </a:pP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мпературас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25оС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айт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лард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йналымд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уме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енімд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ет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еркәсіптік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уіпсіздік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пен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еңбект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рғ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нормалар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мен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ғидалар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қт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үші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№7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градирнян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ңарт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обас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ындалд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л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т/б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рылымдарының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зақымдануына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йланыст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"бассейн"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режимінде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стед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050" b="1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ru-RU" sz="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КЕЗЕҢДЕРДІ ІСКЕ АСЫРУ МЕРЗІМДЕРІ: </a:t>
            </a:r>
          </a:p>
          <a:p>
            <a:pPr lvl="0"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4-2025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ж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defRPr/>
            </a:pP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у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31.08.2025 ж.</a:t>
            </a:r>
          </a:p>
          <a:p>
            <a:pPr lvl="0">
              <a:defRPr/>
            </a:pPr>
            <a:endParaRPr lang="ru-RU" sz="7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МЕРДІГЕР:</a:t>
            </a:r>
          </a:p>
          <a:p>
            <a:pPr lvl="0"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лавстрой</a:t>
            </a:r>
            <a:r>
              <a:rPr lang="en-US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r>
              <a:rPr lang="kk-KZ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ЖШС</a:t>
            </a:r>
            <a:endParaRPr lang="ru-RU" sz="105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174427" y="3217422"/>
            <a:ext cx="6010202" cy="1738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</a:t>
            </a:r>
          </a:p>
          <a:p>
            <a:pPr lvl="0">
              <a:defRPr/>
            </a:pP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ынадай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лд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-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лқындатқыш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раның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т/б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остаған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өлшекте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/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рнат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	-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лқындатқыш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раның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р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үст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өлігі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	- ЭМ, АТШ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әбілдік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імдерінің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ралық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баты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, ЭЖ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	-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уар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агистральдар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ұбыр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</a:rPr>
              <a:t>.</a:t>
            </a:r>
          </a:p>
          <a:p>
            <a:pPr lvl="0">
              <a:defRPr/>
            </a:pP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өмендегі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ргізіліп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тыр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-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өсенішт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нат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-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үріккіштерді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ұстап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ғыштың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локтары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нтажд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  <a:p>
            <a:pPr lvl="0">
              <a:defRPr/>
            </a:pP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- градирня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сейні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мшалан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рғысынан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ынауға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йындау</a:t>
            </a:r>
            <a:r>
              <a:rPr lang="ru-RU" sz="105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33" b="30502"/>
          <a:stretch/>
        </p:blipFill>
        <p:spPr>
          <a:xfrm>
            <a:off x="6824255" y="4925582"/>
            <a:ext cx="4731816" cy="17234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9488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281672" y="180785"/>
            <a:ext cx="28290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ДАМУ ЖОБАЛАРЫ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2558469" y="770592"/>
            <a:ext cx="63178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КӨжәнеЖЗШ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С840 КҮКІРТТІ ТҮЙІРШІКТЕУ ҚОНДЫРҒЫСЫН ЖАҢАРТУ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43462" y="1184819"/>
            <a:ext cx="60836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defRPr/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</a:t>
            </a:r>
          </a:p>
          <a:p>
            <a:pPr lvl="0">
              <a:defRPr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нвейерлік-элеватор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бдықт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спирацияла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иімділігі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рт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тмосфера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шығарындылардағ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тт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үкіртті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ормаланат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ұрам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т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.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нвейерлік-элеватор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бдықты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уіпсіз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мтамасыз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т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ru-RU" sz="13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КЕЗЕҢДЕРДІ ІСКЕ АСЫРУ МЕРЗІМДЕРІ:  </a:t>
            </a:r>
          </a:p>
          <a:p>
            <a:pPr lvl="0">
              <a:defRPr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4-2025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ж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defRPr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31.10.2025 ж.</a:t>
            </a:r>
          </a:p>
          <a:p>
            <a:pPr lvl="0">
              <a:defRPr/>
            </a:pPr>
            <a:endParaRPr lang="ru-RU" sz="13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МЕРДІГЕР: </a:t>
            </a:r>
          </a:p>
          <a:p>
            <a:pPr lvl="0">
              <a:defRPr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ES Kazakhstan»</a:t>
            </a:r>
            <a:r>
              <a:rPr lang="kk-KZ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ЖШС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41233" y="3782299"/>
            <a:ext cx="5048973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:</a:t>
            </a:r>
          </a:p>
          <a:p>
            <a:pPr lvl="0">
              <a:defRPr/>
            </a:pP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өмендегі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яқталды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: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ирациялық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ны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ргетастары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ирациялық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ны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МК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- 90%;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ВС-001, </a:t>
            </a:r>
            <a:r>
              <a:rPr lang="en-US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BC-002, 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ВС-003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нвейерлеріні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спалары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, ВЕ-001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ваторыны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шөміштері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мен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аспалары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уыстыр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аспирация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йесіні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бдықтары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оныме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тар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онвейерлік-элеваторлық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бдықты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рылыстарда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елсенді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ассивті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рға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йелері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кіз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</a:p>
          <a:p>
            <a:pPr lvl="0">
              <a:defRPr/>
            </a:pP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   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Төмендегілер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үргізіледі</a:t>
            </a:r>
            <a:r>
              <a:rPr lang="ru-RU" sz="13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: 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аспирациялық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ондырғының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МК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онтажда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пісір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; </a:t>
            </a:r>
          </a:p>
          <a:p>
            <a:pPr marL="171450" lvl="0" indent="-171450">
              <a:buFontTx/>
              <a:buChar char="-"/>
              <a:defRPr/>
            </a:pP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еткізілген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бдықты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кіріс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қылауға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дайындау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r>
              <a:rPr lang="ru-RU" sz="1300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848E08A-6991-3BA9-A7D5-CBC0F09746A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795" y="1519343"/>
            <a:ext cx="4759754" cy="4525912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1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4764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969001" y="157568"/>
            <a:ext cx="6208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ЫҢ СЕНІМДІЛІГІ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56873" y="1391097"/>
            <a:ext cx="5235698" cy="190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д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ре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ыны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енімділігі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ттыру</a:t>
            </a:r>
            <a:endParaRPr lang="kk-KZ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КЕЗЕҢДЕРДІ ІСКЕ АСЫРУ МЕРЗІМДЕРІ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РЕССОРЛАРДЫҢ ЖИЫНТЫҚ ӨНІМДІЛІГІ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5 тонна/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ғ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МЕРДІГЕР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 ІСКЕ АСЫР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д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ре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йл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газ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рессорларыны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үздіксіз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ы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туге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82" name="Группа 81"/>
          <p:cNvGrpSpPr/>
          <p:nvPr/>
        </p:nvGrpSpPr>
        <p:grpSpPr>
          <a:xfrm>
            <a:off x="291130" y="1376040"/>
            <a:ext cx="320199" cy="275376"/>
            <a:chOff x="136051" y="1391752"/>
            <a:chExt cx="419286" cy="434523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6051" y="1391752"/>
              <a:ext cx="419286" cy="4345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4" name="Freeform 99"/>
            <p:cNvSpPr>
              <a:spLocks noEditPoints="1"/>
            </p:cNvSpPr>
            <p:nvPr/>
          </p:nvSpPr>
          <p:spPr bwMode="auto">
            <a:xfrm>
              <a:off x="199092" y="1465786"/>
              <a:ext cx="292599" cy="293167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291132" y="1710400"/>
            <a:ext cx="320197" cy="275376"/>
            <a:chOff x="151990" y="1375424"/>
            <a:chExt cx="320197" cy="275376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7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271591" y="2690354"/>
            <a:ext cx="342749" cy="329962"/>
            <a:chOff x="132557" y="2285583"/>
            <a:chExt cx="359605" cy="335305"/>
          </a:xfrm>
        </p:grpSpPr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8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9" name="Группа 98"/>
          <p:cNvGrpSpPr/>
          <p:nvPr/>
        </p:nvGrpSpPr>
        <p:grpSpPr>
          <a:xfrm>
            <a:off x="297436" y="2356193"/>
            <a:ext cx="320197" cy="275376"/>
            <a:chOff x="144952" y="2751503"/>
            <a:chExt cx="320197" cy="275376"/>
          </a:xfrm>
        </p:grpSpPr>
        <p:sp>
          <p:nvSpPr>
            <p:cNvPr id="100" name="Овал 9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101" name="Группа 100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102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4" name="Группа 103"/>
          <p:cNvGrpSpPr/>
          <p:nvPr/>
        </p:nvGrpSpPr>
        <p:grpSpPr>
          <a:xfrm>
            <a:off x="291447" y="2031936"/>
            <a:ext cx="320197" cy="275376"/>
            <a:chOff x="139227" y="1865668"/>
            <a:chExt cx="320197" cy="275376"/>
          </a:xfrm>
        </p:grpSpPr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06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1035862" y="783268"/>
            <a:ext cx="429009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HITACHI 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(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Жапония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)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орталықтан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тепкіш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компрессорлары</a:t>
            </a:r>
            <a:endParaRPr lang="ru-RU" sz="15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21" name="Line 9"/>
          <p:cNvSpPr>
            <a:spLocks noChangeShapeType="1"/>
          </p:cNvSpPr>
          <p:nvPr/>
        </p:nvSpPr>
        <p:spPr bwMode="auto">
          <a:xfrm flipH="1">
            <a:off x="5993100" y="987789"/>
            <a:ext cx="19474" cy="5519126"/>
          </a:xfrm>
          <a:prstGeom prst="line">
            <a:avLst/>
          </a:prstGeom>
          <a:noFill/>
          <a:ln w="3175" cmpd="thickThin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26" name="Группа 125"/>
          <p:cNvGrpSpPr/>
          <p:nvPr/>
        </p:nvGrpSpPr>
        <p:grpSpPr>
          <a:xfrm>
            <a:off x="6588104" y="1775312"/>
            <a:ext cx="302523" cy="325568"/>
            <a:chOff x="151990" y="1375424"/>
            <a:chExt cx="320197" cy="275376"/>
          </a:xfrm>
        </p:grpSpPr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28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6587010" y="1395000"/>
            <a:ext cx="302523" cy="275376"/>
            <a:chOff x="139227" y="1865668"/>
            <a:chExt cx="320197" cy="275376"/>
          </a:xfrm>
        </p:grpSpPr>
        <p:sp>
          <p:nvSpPr>
            <p:cNvPr id="130" name="Овал 12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31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2" name="Группа 131"/>
          <p:cNvGrpSpPr/>
          <p:nvPr/>
        </p:nvGrpSpPr>
        <p:grpSpPr>
          <a:xfrm>
            <a:off x="6594594" y="2778555"/>
            <a:ext cx="302523" cy="275376"/>
            <a:chOff x="144952" y="2751503"/>
            <a:chExt cx="320197" cy="275376"/>
          </a:xfrm>
        </p:grpSpPr>
        <p:sp>
          <p:nvSpPr>
            <p:cNvPr id="133" name="Овал 13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134" name="Группа 133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135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7" name="Группа 136"/>
          <p:cNvGrpSpPr/>
          <p:nvPr/>
        </p:nvGrpSpPr>
        <p:grpSpPr>
          <a:xfrm>
            <a:off x="6606504" y="3216988"/>
            <a:ext cx="304119" cy="295434"/>
            <a:chOff x="132557" y="2285583"/>
            <a:chExt cx="359605" cy="335305"/>
          </a:xfrm>
        </p:grpSpPr>
        <p:sp>
          <p:nvSpPr>
            <p:cNvPr id="138" name="Овал 137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39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0" name="Группа 139"/>
          <p:cNvGrpSpPr/>
          <p:nvPr/>
        </p:nvGrpSpPr>
        <p:grpSpPr>
          <a:xfrm>
            <a:off x="6586294" y="2405533"/>
            <a:ext cx="302523" cy="275376"/>
            <a:chOff x="143281" y="1375424"/>
            <a:chExt cx="320197" cy="275376"/>
          </a:xfrm>
        </p:grpSpPr>
        <p:sp>
          <p:nvSpPr>
            <p:cNvPr id="141" name="Овал 140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3281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42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8" name="Рисунок 147"/>
          <p:cNvPicPr>
            <a:picLocks noChangeAspect="1"/>
          </p:cNvPicPr>
          <p:nvPr/>
        </p:nvPicPr>
        <p:blipFill rotWithShape="1">
          <a:blip r:embed="rId3"/>
          <a:srcRect l="17891" t="8296" r="5023" b="23521"/>
          <a:stretch/>
        </p:blipFill>
        <p:spPr>
          <a:xfrm>
            <a:off x="7329984" y="4250829"/>
            <a:ext cx="3499478" cy="2321504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6888818" y="738815"/>
            <a:ext cx="417634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МБӨӨ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орғы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жабдығын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алқындату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жүйесінің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жобасы</a:t>
            </a:r>
            <a:endParaRPr lang="ru-RU" sz="15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42061" y="3231255"/>
            <a:ext cx="3255730" cy="566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МЖ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лд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рессорлар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әжірибелік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рілді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2" name="Группа 91"/>
          <p:cNvGrpSpPr/>
          <p:nvPr/>
        </p:nvGrpSpPr>
        <p:grpSpPr>
          <a:xfrm>
            <a:off x="274946" y="3216988"/>
            <a:ext cx="321886" cy="295434"/>
            <a:chOff x="132557" y="2285583"/>
            <a:chExt cx="359605" cy="335305"/>
          </a:xfrm>
        </p:grpSpPr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4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6905418" y="1341459"/>
            <a:ext cx="4069115" cy="2336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ЖОБАНЫ ІСКЕ АСЫРУДЫҢ АЛҒЫШАРТТАР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defRPr/>
            </a:pP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орғ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бдығы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иімсіз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алқындат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алқындат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үйесіндег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оғар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ррозиялық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елсенділік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БАНЫҢ МАҚСАТЫ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МБӨӨ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орғ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бдықтарының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енімділігі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рттыр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, «ПМХЗ» ЖШС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ң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ы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пайдалануғ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ергенне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ейін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ррозиялық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әуекелдерд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зайт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 </a:t>
            </a:r>
            <a:r>
              <a:rPr lang="ru-RU" sz="1000" b="1" dirty="0">
                <a:solidFill>
                  <a:srgbClr val="0000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ЗЕҢДЕРДІ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ІСКЕ АСЫРУ МЕРЗІМДЕРІ: 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 МЕРДГЕР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 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МӘРТЕБЕС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МЖ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лды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лқындат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әжірибелік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рілді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624249" y="3708571"/>
            <a:ext cx="3175879" cy="566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ЖАРТЫЖЫЛДЫҚҚА ЖОСПАРЛАР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яқталған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ұрылыс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бъектісін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айдалануға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беру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298590" y="3786401"/>
            <a:ext cx="321886" cy="295434"/>
            <a:chOff x="132557" y="2285583"/>
            <a:chExt cx="359605" cy="335305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0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Прямоугольник 87"/>
          <p:cNvSpPr/>
          <p:nvPr/>
        </p:nvSpPr>
        <p:spPr>
          <a:xfrm>
            <a:off x="6944028" y="3613167"/>
            <a:ext cx="3624349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ҒЫМДАҒЫ ЖАРТЫЖЫЛДЫҚҚА ЖОСПАРЛАР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яқталған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ұрылыс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бъектісін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айдалануға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беру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89" name="Группа 88"/>
          <p:cNvGrpSpPr/>
          <p:nvPr/>
        </p:nvGrpSpPr>
        <p:grpSpPr>
          <a:xfrm>
            <a:off x="6622142" y="3659929"/>
            <a:ext cx="321886" cy="295434"/>
            <a:chOff x="132557" y="2285583"/>
            <a:chExt cx="359605" cy="335305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5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8" name="Рисунок 5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E0A27EDF-55B8-4772-9232-148D3802A9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698" y="4275393"/>
            <a:ext cx="3623113" cy="2296940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6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573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6585528" y="141108"/>
            <a:ext cx="5514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ҢБЕК ҚАУІПСІЗДІГІ ЖӘНЕ ЕҢБЕКТІ ҚОРҒАУ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482135" y="784669"/>
            <a:ext cx="1166065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25 ЖЫЛҒЫ 1 ЖАРТЫЖЫЛДЫҚТАҒЫ ЖАРАҚАТТАНУ ТАЛДАУЫ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7208677"/>
              </p:ext>
            </p:extLst>
          </p:nvPr>
        </p:nvGraphicFramePr>
        <p:xfrm>
          <a:off x="482135" y="1137339"/>
          <a:ext cx="11213869" cy="74119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591714">
                  <a:extLst>
                    <a:ext uri="{9D8B030D-6E8A-4147-A177-3AD203B41FA5}">
                      <a16:colId xmlns:a16="http://schemas.microsoft.com/office/drawing/2014/main" val="1012008391"/>
                    </a:ext>
                  </a:extLst>
                </a:gridCol>
                <a:gridCol w="5622155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</a:tblGrid>
              <a:tr h="43639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ЖАЗАТАЙЫМ</a:t>
                      </a:r>
                      <a:r>
                        <a:rPr lang="ru-RU" sz="1200" baseline="0" dirty="0">
                          <a:latin typeface="Century Gothic" panose="020B0502020202020204" pitchFamily="34" charset="0"/>
                        </a:rPr>
                        <a:t> ОҚИҒАЛАР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27265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5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30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маусымдағы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ғдай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бойынша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затайым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оқиғаларсыз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күндердің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лпы</a:t>
                      </a:r>
                      <a:r>
                        <a:rPr lang="ru-RU" sz="14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саны </a:t>
                      </a:r>
                      <a:r>
                        <a:rPr lang="ru-RU" sz="1400" b="1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– 391</a:t>
                      </a:r>
                      <a:endParaRPr lang="ru-RU" sz="18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09601" y="1926733"/>
            <a:ext cx="1082501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УРУШАҢДЫҚТЫҢ</a:t>
            </a:r>
            <a:r>
              <a:rPr lang="ru-RU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ТАЛДАУЫ 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207988"/>
              </p:ext>
            </p:extLst>
          </p:nvPr>
        </p:nvGraphicFramePr>
        <p:xfrm>
          <a:off x="376340" y="2197367"/>
          <a:ext cx="11319664" cy="204185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11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16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24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3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60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784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2090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езең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F55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ұмыскерлер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ұмыскерлер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расында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уыру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ғдайларыны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уыру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ғдайларыны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ұмыскерлер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расында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еңбекке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рамсыздық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үндерінің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Еңбекке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рамсыздық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үндеріні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912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езең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/>
                </a:tc>
                <a:tc gridSpan="2">
                  <a:txBody>
                    <a:bodyPr/>
                    <a:lstStyle/>
                    <a:p>
                      <a:endParaRPr lang="ru-RU"/>
                    </a:p>
                  </a:txBody>
                  <a:tcPr marL="8490" marR="8490" marT="6368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ұмыскерлер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расында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уыру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ғдайларыны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уыру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ғдайларыны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ұмыскерлер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арасында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еңбекке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рамсыздық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үндерінің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Еңбекке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рамсыздық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үндерінің</a:t>
                      </a:r>
                      <a:r>
                        <a:rPr lang="ru-RU" sz="1200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9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барлығ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соның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ішінде</a:t>
                      </a:r>
                      <a:b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2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әйелдер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388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4 </a:t>
                      </a:r>
                      <a:r>
                        <a:rPr lang="ru-RU" sz="12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200" b="1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 424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2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,16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9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59,14</a:t>
                      </a:r>
                      <a:endParaRPr lang="ru-RU" sz="1200" kern="1200" noProof="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870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3467703"/>
                  </a:ext>
                </a:extLst>
              </a:tr>
              <a:tr h="3831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5 </a:t>
                      </a:r>
                      <a:r>
                        <a:rPr lang="ru-RU" sz="12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200" b="1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2 463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29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37,4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9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331,5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816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257981"/>
                  </a:ext>
                </a:extLst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90054"/>
              </p:ext>
            </p:extLst>
          </p:nvPr>
        </p:nvGraphicFramePr>
        <p:xfrm>
          <a:off x="376340" y="4573662"/>
          <a:ext cx="11319665" cy="21376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621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7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9103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ІС-ШАРАЛА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Сомасы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мың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теңге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, 2025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үшін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115">
                <a:tc>
                  <a:txBody>
                    <a:bodyPr/>
                    <a:lstStyle/>
                    <a:p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Сүтпен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амтамасыз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ету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35 139</a:t>
                      </a: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468">
                <a:tc>
                  <a:txBody>
                    <a:bodyPr/>
                    <a:lstStyle/>
                    <a:p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Еңбек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ауіпсіздігі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еңбекті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орғау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өніндегі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іс-шараларға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кеткен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шығындар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29 561</a:t>
                      </a: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115">
                <a:tc>
                  <a:txBody>
                    <a:bodyPr/>
                    <a:lstStyle/>
                    <a:p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Арнайы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киіммен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, ЖҚҚ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амтамасыз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ету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208 487</a:t>
                      </a: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115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Сабын-жуғыш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зарарсыздандыру</a:t>
                      </a: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ұралдары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3 792</a:t>
                      </a: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447591"/>
                  </a:ext>
                </a:extLst>
              </a:tr>
              <a:tr h="251115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анитарлық</a:t>
                      </a:r>
                      <a:r>
                        <a:rPr lang="ru-RU" sz="11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қызметтер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13</a:t>
                      </a:r>
                      <a:r>
                        <a:rPr lang="ru-RU" sz="11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 981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674103"/>
                  </a:ext>
                </a:extLst>
              </a:tr>
              <a:tr h="258936">
                <a:tc>
                  <a:txBody>
                    <a:bodyPr/>
                    <a:lstStyle/>
                    <a:p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иыны</a:t>
                      </a:r>
                      <a:r>
                        <a:rPr lang="ru-RU" sz="11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(</a:t>
                      </a: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нақты</a:t>
                      </a:r>
                      <a:r>
                        <a:rPr lang="ru-RU" sz="11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шығыстар</a:t>
                      </a:r>
                      <a:r>
                        <a:rPr lang="ru-RU" sz="11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):        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00 957</a:t>
                      </a:r>
                    </a:p>
                  </a:txBody>
                  <a:tcPr marT="45226" marB="45226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82135" y="4275567"/>
            <a:ext cx="11213868" cy="298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ЕҢБЕК ҚАУІПСІЗДІГІ МЕН ЕҢБЕКТІ ҚОРҒАУҒА ЖҰМСАЛҒАН ҚАРАЖАТТАР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62777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867942"/>
              </p:ext>
            </p:extLst>
          </p:nvPr>
        </p:nvGraphicFramePr>
        <p:xfrm>
          <a:off x="167887" y="782306"/>
          <a:ext cx="6564512" cy="23576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23458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616364">
                  <a:extLst>
                    <a:ext uri="{9D8B030D-6E8A-4147-A177-3AD203B41FA5}">
                      <a16:colId xmlns:a16="http://schemas.microsoft.com/office/drawing/2014/main" val="241779084"/>
                    </a:ext>
                  </a:extLst>
                </a:gridCol>
                <a:gridCol w="1624690">
                  <a:extLst>
                    <a:ext uri="{9D8B030D-6E8A-4147-A177-3AD203B41FA5}">
                      <a16:colId xmlns:a16="http://schemas.microsoft.com/office/drawing/2014/main" val="3728639497"/>
                    </a:ext>
                  </a:extLst>
                </a:gridCol>
              </a:tblGrid>
              <a:tr h="491286">
                <a:tc gridSpan="3"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200" b="1" cap="none" spc="0" baseline="0" dirty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ТҰРАҚТЫ ЖҰМЫС ІСТЕЙТІН ЖӘНЕ ӨРТ-ТЕХНИКАЛЫҚ КОМИССИЯЛАРДЫҢ                КЕШЕНДІ ТЕКСЕРУЛЕРІ</a:t>
                      </a:r>
                      <a:endParaRPr lang="ru-RU" sz="1200" b="1" cap="none" spc="0" baseline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98608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4 </a:t>
                      </a:r>
                      <a:r>
                        <a:rPr lang="ru-RU" sz="1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             1 </a:t>
                      </a:r>
                      <a:r>
                        <a:rPr lang="ru-RU" sz="1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5 </a:t>
                      </a:r>
                      <a:r>
                        <a:rPr lang="ru-RU" sz="1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             1 </a:t>
                      </a:r>
                      <a:r>
                        <a:rPr lang="ru-RU" sz="1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4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89294"/>
                  </a:ext>
                </a:extLst>
              </a:tr>
              <a:tr h="272937"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Өткізілді</a:t>
                      </a: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463993"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Кешенді</a:t>
                      </a: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тексерулер</a:t>
                      </a: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кезінде</a:t>
                      </a:r>
                      <a:r>
                        <a:rPr lang="ru-RU" sz="14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анықталған</a:t>
                      </a:r>
                      <a:r>
                        <a:rPr lang="ru-RU" sz="14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сәйкессіздіктер</a:t>
                      </a:r>
                      <a:r>
                        <a:rPr lang="ru-RU" sz="14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саны 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2287939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2021"/>
              </p:ext>
            </p:extLst>
          </p:nvPr>
        </p:nvGraphicFramePr>
        <p:xfrm>
          <a:off x="167887" y="3339222"/>
          <a:ext cx="6564512" cy="130159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055626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254443">
                  <a:extLst>
                    <a:ext uri="{9D8B030D-6E8A-4147-A177-3AD203B41FA5}">
                      <a16:colId xmlns:a16="http://schemas.microsoft.com/office/drawing/2014/main" val="3880461798"/>
                    </a:ext>
                  </a:extLst>
                </a:gridCol>
                <a:gridCol w="1254443">
                  <a:extLst>
                    <a:ext uri="{9D8B030D-6E8A-4147-A177-3AD203B41FA5}">
                      <a16:colId xmlns:a16="http://schemas.microsoft.com/office/drawing/2014/main" val="3034203973"/>
                    </a:ext>
                  </a:extLst>
                </a:gridCol>
              </a:tblGrid>
              <a:tr h="215514">
                <a:tc gridSpan="3"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000" b="1" u="none" strike="noStrike" kern="1200" cap="none" spc="0" baseline="0" dirty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ЕҢБЕК ҚАУІПСІЗДІГІ ЖӘНЕ ЕҢБЕКТІ ҚОРҒАУ САЛАСЫНДАҒЫ ІШКІ                         МАҚСАТТЫ ТЕКСЕРУЛЕР</a:t>
                      </a:r>
                      <a:endParaRPr lang="ru-RU" sz="1000" b="1" cap="none" spc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endParaRPr lang="ru-RU" sz="10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2024 </a:t>
                      </a:r>
                      <a:r>
                        <a:rPr lang="ru-RU" sz="10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0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               1 </a:t>
                      </a:r>
                      <a:r>
                        <a:rPr lang="ru-RU" sz="10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0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5 </a:t>
                      </a:r>
                      <a:r>
                        <a:rPr lang="ru-RU" sz="10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0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0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0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688709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algn="l"/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Берілген</a:t>
                      </a: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нұсқаулықтар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330758">
                <a:tc>
                  <a:txBody>
                    <a:bodyPr/>
                    <a:lstStyle/>
                    <a:p>
                      <a:pPr algn="l"/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лпы</a:t>
                      </a: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сәйкессіздіктер</a:t>
                      </a:r>
                      <a:r>
                        <a:rPr lang="ru-RU" sz="14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саны</a:t>
                      </a:r>
                      <a:endParaRPr lang="ru-R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21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sp>
        <p:nvSpPr>
          <p:cNvPr id="14" name="Прямоугольник 8"/>
          <p:cNvSpPr/>
          <p:nvPr/>
        </p:nvSpPr>
        <p:spPr>
          <a:xfrm>
            <a:off x="3146758" y="4853633"/>
            <a:ext cx="5823661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itchFamily="18"/>
              </a:rPr>
              <a:t>КІРІСПЕ НҰСҚАМА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itchFamily="18"/>
              </a:rPr>
              <a:t> БЕРУ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Times New Roman" pitchFamily="18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56" y="901814"/>
            <a:ext cx="4866895" cy="3948897"/>
          </a:xfrm>
          <a:prstGeom prst="rect">
            <a:avLst/>
          </a:prstGeom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06659"/>
              </p:ext>
            </p:extLst>
          </p:nvPr>
        </p:nvGraphicFramePr>
        <p:xfrm>
          <a:off x="249381" y="5097225"/>
          <a:ext cx="11466370" cy="163284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59086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804580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777240">
                  <a:extLst>
                    <a:ext uri="{9D8B030D-6E8A-4147-A177-3AD203B41FA5}">
                      <a16:colId xmlns:a16="http://schemas.microsoft.com/office/drawing/2014/main" val="2477345549"/>
                    </a:ext>
                  </a:extLst>
                </a:gridCol>
                <a:gridCol w="768096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387520049"/>
                    </a:ext>
                  </a:extLst>
                </a:gridCol>
                <a:gridCol w="886968">
                  <a:extLst>
                    <a:ext uri="{9D8B030D-6E8A-4147-A177-3AD203B41FA5}">
                      <a16:colId xmlns:a16="http://schemas.microsoft.com/office/drawing/2014/main" val="398423216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870847127"/>
                    </a:ext>
                  </a:extLst>
                </a:gridCol>
                <a:gridCol w="1792224">
                  <a:extLst>
                    <a:ext uri="{9D8B030D-6E8A-4147-A177-3AD203B41FA5}">
                      <a16:colId xmlns:a16="http://schemas.microsoft.com/office/drawing/2014/main" val="644947982"/>
                    </a:ext>
                  </a:extLst>
                </a:gridCol>
                <a:gridCol w="1895096">
                  <a:extLst>
                    <a:ext uri="{9D8B030D-6E8A-4147-A177-3AD203B41FA5}">
                      <a16:colId xmlns:a16="http://schemas.microsoft.com/office/drawing/2014/main" val="2901790796"/>
                    </a:ext>
                  </a:extLst>
                </a:gridCol>
              </a:tblGrid>
              <a:tr h="311546">
                <a:tc rowSpan="2">
                  <a:txBody>
                    <a:bodyPr/>
                    <a:lstStyle/>
                    <a:p>
                      <a:pPr algn="ctr"/>
                      <a:r>
                        <a:rPr lang="kk-KZ" sz="1200" dirty="0">
                          <a:latin typeface="Century Gothic" panose="020B0502020202020204" pitchFamily="34" charset="0"/>
                        </a:rPr>
                        <a:t>Ұ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йымдар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адам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А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ЖИЫН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064875"/>
                  </a:ext>
                </a:extLst>
              </a:tr>
              <a:tr h="416951">
                <a:tc vMerge="1">
                  <a:txBody>
                    <a:bodyPr/>
                    <a:lstStyle/>
                    <a:p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4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                         1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025</a:t>
                      </a:r>
                      <a:r>
                        <a:rPr lang="en-US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                              1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b="1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«ПМХЗ» ЖШС 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Басқа</a:t>
                      </a:r>
                      <a:endParaRPr lang="ru-RU" sz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3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5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1 6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</a:rPr>
                        <a:t>4 1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 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6493164" y="141108"/>
            <a:ext cx="56066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ҢБЕК ҚАУІПСІЗДІГІ ЖӘНЕ ЕҢБЕКТІ ҚОРҒАУ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8500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477000" y="845761"/>
            <a:ext cx="55280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b="1" dirty="0"/>
              <a:t>2025 </a:t>
            </a:r>
            <a:r>
              <a:rPr lang="ru-RU" sz="1400" b="1" dirty="0" err="1"/>
              <a:t>жылғы</a:t>
            </a:r>
            <a:r>
              <a:rPr lang="ru-RU" sz="1400" b="1" dirty="0"/>
              <a:t> 1 </a:t>
            </a:r>
            <a:r>
              <a:rPr lang="ru-RU" sz="1400" b="1" dirty="0" err="1"/>
              <a:t>жартыжылдықта</a:t>
            </a:r>
            <a:r>
              <a:rPr lang="ru-RU" sz="1400" b="1" dirty="0"/>
              <a:t> </a:t>
            </a:r>
            <a:r>
              <a:rPr lang="ru-RU" sz="1400" b="1" dirty="0" err="1"/>
              <a:t>мердігерлік</a:t>
            </a:r>
            <a:r>
              <a:rPr lang="ru-RU" sz="1400" b="1" dirty="0"/>
              <a:t> </a:t>
            </a:r>
            <a:r>
              <a:rPr lang="ru-RU" sz="1400" b="1" dirty="0" err="1"/>
              <a:t>және</a:t>
            </a:r>
            <a:r>
              <a:rPr lang="ru-RU" sz="1400" b="1" dirty="0"/>
              <a:t> </a:t>
            </a:r>
            <a:r>
              <a:rPr lang="ru-RU" sz="1400" b="1" dirty="0" err="1"/>
              <a:t>сервистік</a:t>
            </a:r>
            <a:r>
              <a:rPr lang="ru-RU" sz="1400" b="1" dirty="0"/>
              <a:t> </a:t>
            </a:r>
            <a:r>
              <a:rPr lang="ru-RU" sz="1400" b="1" dirty="0" err="1"/>
              <a:t>ұйымдардың</a:t>
            </a:r>
            <a:r>
              <a:rPr lang="ru-RU" sz="1400" b="1" dirty="0"/>
              <a:t> </a:t>
            </a:r>
            <a:r>
              <a:rPr lang="ru-RU" sz="1400" b="1" dirty="0" err="1"/>
              <a:t>еңбек</a:t>
            </a:r>
            <a:r>
              <a:rPr lang="ru-RU" sz="1400" b="1" dirty="0"/>
              <a:t> </a:t>
            </a:r>
            <a:r>
              <a:rPr lang="ru-RU" sz="1400" b="1" dirty="0" err="1"/>
              <a:t>қауіпсіздігі</a:t>
            </a:r>
            <a:r>
              <a:rPr lang="ru-RU" sz="1400" b="1" dirty="0"/>
              <a:t> </a:t>
            </a:r>
            <a:r>
              <a:rPr lang="ru-RU" sz="1400" b="1" dirty="0" err="1"/>
              <a:t>және</a:t>
            </a:r>
            <a:r>
              <a:rPr lang="ru-RU" sz="1400" b="1" dirty="0"/>
              <a:t> </a:t>
            </a:r>
            <a:r>
              <a:rPr lang="ru-RU" sz="1400" b="1" dirty="0" err="1"/>
              <a:t>еңбекті</a:t>
            </a:r>
            <a:r>
              <a:rPr lang="ru-RU" sz="1400" b="1" dirty="0"/>
              <a:t> </a:t>
            </a:r>
            <a:r>
              <a:rPr lang="ru-RU" sz="1400" b="1" dirty="0" err="1"/>
              <a:t>қорғау</a:t>
            </a:r>
            <a:r>
              <a:rPr lang="ru-RU" sz="1400" b="1" dirty="0"/>
              <a:t>, </a:t>
            </a:r>
            <a:r>
              <a:rPr lang="ru-RU" sz="1400" b="1" dirty="0" err="1"/>
              <a:t>өрт</a:t>
            </a:r>
            <a:r>
              <a:rPr lang="ru-RU" sz="1400" b="1" dirty="0"/>
              <a:t>, газ, </a:t>
            </a:r>
            <a:r>
              <a:rPr lang="ru-RU" sz="1400" b="1" dirty="0" err="1"/>
              <a:t>өнеркәсіптік</a:t>
            </a:r>
            <a:r>
              <a:rPr lang="ru-RU" sz="1400" b="1" dirty="0"/>
              <a:t> </a:t>
            </a:r>
            <a:r>
              <a:rPr lang="ru-RU" sz="1400" b="1" dirty="0" err="1"/>
              <a:t>қауіпсіздік</a:t>
            </a:r>
            <a:r>
              <a:rPr lang="ru-RU" sz="1400" b="1" dirty="0"/>
              <a:t> </a:t>
            </a:r>
            <a:r>
              <a:rPr lang="ru-RU" sz="1400" b="1" dirty="0" err="1"/>
              <a:t>талаптарын</a:t>
            </a:r>
            <a:r>
              <a:rPr lang="ru-RU" sz="1400" b="1" dirty="0"/>
              <a:t> </a:t>
            </a:r>
            <a:r>
              <a:rPr lang="ru-RU" sz="1400" b="1" dirty="0" err="1"/>
              <a:t>бұзған</a:t>
            </a:r>
            <a:r>
              <a:rPr lang="ru-RU" sz="1400" b="1" dirty="0"/>
              <a:t> </a:t>
            </a:r>
            <a:r>
              <a:rPr lang="ru-RU" sz="1400" b="1" dirty="0" err="1"/>
              <a:t>үшін</a:t>
            </a:r>
            <a:r>
              <a:rPr lang="ru-RU" sz="1400" b="1" dirty="0"/>
              <a:t> </a:t>
            </a:r>
            <a:r>
              <a:rPr lang="ru-RU" sz="1400" b="1" dirty="0" err="1"/>
              <a:t>айыппұлдар</a:t>
            </a:r>
            <a:r>
              <a:rPr lang="ru-RU" sz="1400" b="1" dirty="0"/>
              <a:t> </a:t>
            </a:r>
            <a:r>
              <a:rPr lang="ru-RU" sz="1400" b="1" dirty="0" err="1"/>
              <a:t>сомасы</a:t>
            </a:r>
            <a:r>
              <a:rPr lang="ru-RU" sz="1400" b="1" dirty="0"/>
              <a:t> (</a:t>
            </a:r>
            <a:r>
              <a:rPr lang="ru-RU" sz="1400" b="1" dirty="0" err="1"/>
              <a:t>мың</a:t>
            </a:r>
            <a:r>
              <a:rPr lang="ru-RU" sz="1400" b="1" dirty="0"/>
              <a:t> </a:t>
            </a:r>
            <a:r>
              <a:rPr lang="ru-RU" sz="1400" b="1" dirty="0" err="1"/>
              <a:t>теңгемен</a:t>
            </a:r>
            <a:r>
              <a:rPr lang="ru-RU" sz="1400" b="1" dirty="0"/>
              <a:t>)  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7496" y="876508"/>
            <a:ext cx="59879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b="1" dirty="0"/>
              <a:t>2025 </a:t>
            </a:r>
            <a:r>
              <a:rPr lang="ru-RU" sz="1200" b="1" dirty="0" err="1"/>
              <a:t>жылғы</a:t>
            </a:r>
            <a:r>
              <a:rPr lang="ru-RU" sz="1200" b="1" dirty="0"/>
              <a:t> 1 </a:t>
            </a:r>
            <a:r>
              <a:rPr lang="ru-RU" sz="1200" b="1" dirty="0" err="1"/>
              <a:t>жартыжылдықтағы</a:t>
            </a:r>
            <a:r>
              <a:rPr lang="ru-RU" sz="1200" b="1" dirty="0"/>
              <a:t> </a:t>
            </a:r>
            <a:r>
              <a:rPr lang="ru-RU" sz="1200" b="1" dirty="0" err="1"/>
              <a:t>мердігерлік</a:t>
            </a:r>
            <a:r>
              <a:rPr lang="ru-RU" sz="1200" b="1" dirty="0"/>
              <a:t> </a:t>
            </a:r>
            <a:r>
              <a:rPr lang="ru-RU" sz="1200" b="1" dirty="0" err="1"/>
              <a:t>және</a:t>
            </a:r>
            <a:r>
              <a:rPr lang="ru-RU" sz="1200" b="1" dirty="0"/>
              <a:t> </a:t>
            </a:r>
            <a:r>
              <a:rPr lang="ru-RU" sz="1200" b="1" dirty="0" err="1"/>
              <a:t>сервистік</a:t>
            </a:r>
            <a:r>
              <a:rPr lang="ru-RU" sz="1200" b="1" dirty="0"/>
              <a:t> </a:t>
            </a:r>
            <a:r>
              <a:rPr lang="ru-RU" sz="1200" b="1" dirty="0" err="1"/>
              <a:t>ұйымдардың</a:t>
            </a:r>
            <a:r>
              <a:rPr lang="ru-RU" sz="1200" b="1" dirty="0"/>
              <a:t> </a:t>
            </a:r>
            <a:r>
              <a:rPr lang="ru-RU" sz="1200" b="1" dirty="0" err="1"/>
              <a:t>еңбек</a:t>
            </a:r>
            <a:r>
              <a:rPr lang="ru-RU" sz="1200" b="1" dirty="0"/>
              <a:t> </a:t>
            </a:r>
            <a:r>
              <a:rPr lang="ru-RU" sz="1200" b="1" dirty="0" err="1"/>
              <a:t>қауіпсіздігі</a:t>
            </a:r>
            <a:r>
              <a:rPr lang="ru-RU" sz="1200" b="1" dirty="0"/>
              <a:t> </a:t>
            </a:r>
            <a:r>
              <a:rPr lang="ru-RU" sz="1200" b="1" dirty="0" err="1"/>
              <a:t>және</a:t>
            </a:r>
            <a:r>
              <a:rPr lang="ru-RU" sz="1200" b="1" dirty="0"/>
              <a:t> </a:t>
            </a:r>
            <a:r>
              <a:rPr lang="ru-RU" sz="1200" b="1" dirty="0" err="1"/>
              <a:t>еңбекті</a:t>
            </a:r>
            <a:r>
              <a:rPr lang="ru-RU" sz="1200" b="1" dirty="0"/>
              <a:t> </a:t>
            </a:r>
            <a:r>
              <a:rPr lang="ru-RU" sz="1200" b="1" dirty="0" err="1"/>
              <a:t>қорғау</a:t>
            </a:r>
            <a:r>
              <a:rPr lang="ru-RU" sz="1200" b="1" dirty="0"/>
              <a:t>, </a:t>
            </a:r>
            <a:r>
              <a:rPr lang="ru-RU" sz="1200" b="1" dirty="0" err="1"/>
              <a:t>өрт</a:t>
            </a:r>
            <a:r>
              <a:rPr lang="ru-RU" sz="1200" b="1" dirty="0"/>
              <a:t>, газ, </a:t>
            </a:r>
            <a:r>
              <a:rPr lang="ru-RU" sz="1200" b="1" dirty="0" err="1"/>
              <a:t>өнеркәсіптік</a:t>
            </a:r>
            <a:r>
              <a:rPr lang="ru-RU" sz="1200" b="1" dirty="0"/>
              <a:t> </a:t>
            </a:r>
            <a:r>
              <a:rPr lang="ru-RU" sz="1200" b="1" dirty="0" err="1"/>
              <a:t>қауіпсіздік</a:t>
            </a:r>
            <a:r>
              <a:rPr lang="ru-RU" sz="1200" b="1" dirty="0"/>
              <a:t> </a:t>
            </a:r>
            <a:r>
              <a:rPr lang="ru-RU" sz="1200" b="1" dirty="0" err="1"/>
              <a:t>талаптарын</a:t>
            </a:r>
            <a:r>
              <a:rPr lang="ru-RU" sz="1200" b="1" dirty="0"/>
              <a:t> </a:t>
            </a:r>
            <a:r>
              <a:rPr lang="ru-RU" sz="1200" b="1" dirty="0" err="1"/>
              <a:t>бұзған</a:t>
            </a:r>
            <a:r>
              <a:rPr lang="ru-RU" sz="1200" b="1" dirty="0"/>
              <a:t> </a:t>
            </a:r>
            <a:r>
              <a:rPr lang="ru-RU" sz="1200" b="1" dirty="0" err="1"/>
              <a:t>үшін</a:t>
            </a:r>
            <a:r>
              <a:rPr lang="ru-RU" sz="1200" b="1" dirty="0"/>
              <a:t> </a:t>
            </a:r>
            <a:r>
              <a:rPr lang="ru-RU" sz="1200" b="1" dirty="0" err="1"/>
              <a:t>айыппұлдар</a:t>
            </a:r>
            <a:r>
              <a:rPr lang="ru-RU" sz="1200" b="1" dirty="0"/>
              <a:t> </a:t>
            </a:r>
            <a:r>
              <a:rPr lang="ru-RU" sz="1200" b="1" dirty="0" err="1"/>
              <a:t>сомасы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: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669474"/>
              </p:ext>
            </p:extLst>
          </p:nvPr>
        </p:nvGraphicFramePr>
        <p:xfrm>
          <a:off x="167887" y="1443376"/>
          <a:ext cx="6137510" cy="1554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66499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2157620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  <a:gridCol w="1913391">
                  <a:extLst>
                    <a:ext uri="{9D8B030D-6E8A-4147-A177-3AD203B41FA5}">
                      <a16:colId xmlns:a16="http://schemas.microsoft.com/office/drawing/2014/main" val="3984232168"/>
                    </a:ext>
                  </a:extLst>
                </a:gridCol>
              </a:tblGrid>
              <a:tr h="6251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Жыл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Айыппұлдар</a:t>
                      </a:r>
                      <a:r>
                        <a:rPr lang="ru-RU" sz="1200" baseline="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baseline="0" dirty="0" err="1">
                          <a:latin typeface="Century Gothic" panose="020B0502020202020204" pitchFamily="34" charset="0"/>
                        </a:rPr>
                        <a:t>сомасы</a:t>
                      </a:r>
                      <a:r>
                        <a:rPr lang="ru-RU" sz="1200" baseline="0" dirty="0"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200" baseline="0" dirty="0" err="1">
                          <a:latin typeface="Century Gothic" panose="020B0502020202020204" pitchFamily="34" charset="0"/>
                        </a:rPr>
                        <a:t>барлығы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Соның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ішінде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тоқтатып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жөндеу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жұмыстары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кезінде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434101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4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1 229 000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 036 200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  <a:tr h="434101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202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5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артыжылдық</a:t>
                      </a:r>
                      <a:endParaRPr lang="ru-RU" sz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19 424 080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 735 400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823764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177908"/>
              </p:ext>
            </p:extLst>
          </p:nvPr>
        </p:nvGraphicFramePr>
        <p:xfrm>
          <a:off x="167887" y="2936723"/>
          <a:ext cx="6137510" cy="3686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4586">
                  <a:extLst>
                    <a:ext uri="{9D8B030D-6E8A-4147-A177-3AD203B41FA5}">
                      <a16:colId xmlns:a16="http://schemas.microsoft.com/office/drawing/2014/main" val="1966008090"/>
                    </a:ext>
                  </a:extLst>
                </a:gridCol>
                <a:gridCol w="4762924">
                  <a:extLst>
                    <a:ext uri="{9D8B030D-6E8A-4147-A177-3AD203B41FA5}">
                      <a16:colId xmlns:a16="http://schemas.microsoft.com/office/drawing/2014/main" val="1472561465"/>
                    </a:ext>
                  </a:extLst>
                </a:gridCol>
              </a:tblGrid>
              <a:tr h="39783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ҰЗУШЫЛЫҚТАР ТҮРІ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ҰЗУШЫЛЫҚТАР</a:t>
                      </a:r>
                      <a:r>
                        <a:rPr lang="ru-RU" sz="1100" baseline="0" dirty="0"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СИПАТТАМАСЫ</a:t>
                      </a:r>
                      <a:endParaRPr lang="ru-RU" sz="11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563853"/>
                  </a:ext>
                </a:extLst>
              </a:tr>
              <a:tr h="4777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өлік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ауіпсіздігі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жаттард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инағ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олық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емес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рнай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ехникан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пайдалан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ондырғ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умағын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кіруге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рұқсатт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RU" sz="11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472009"/>
                  </a:ext>
                </a:extLst>
              </a:tr>
              <a:tr h="63404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рт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ауіпсіздігі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Өрт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ауіпті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материалдард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сақта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өрт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сөндіргіштерді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қаул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от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ұмыстарын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үргіз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орындарынд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анатын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материалдард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аллондардағ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қаул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манометрлер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үзілген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ерлері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бар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быршектер</a:t>
                      </a:r>
                      <a:endParaRPr lang="ru-RU" sz="11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884632"/>
                  </a:ext>
                </a:extLst>
              </a:tr>
              <a:tr h="4777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иіктіктегі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ұмыстар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100" b="0" i="0" u="none" strike="noStrike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+mn-cs"/>
                        </a:rPr>
                        <a:t>Қ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ұлаудан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орғайтын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ралдард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олданба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қаул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үрде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олық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олданба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арт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ралдар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алаптарғ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сәйкес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келмейді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 </a:t>
                      </a:r>
                      <a:endParaRPr lang="ru-RU" sz="11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62670"/>
                  </a:ext>
                </a:extLst>
              </a:tr>
              <a:tr h="4777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ұқсат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беру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үйесі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үктелім-рұқсаттаман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арлық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армақтар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олық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нақт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олтырылмайд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үктелім-рұқсаттаман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ұмыс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орнынд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ауапт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ұлғалардың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b="0" i="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112136"/>
                  </a:ext>
                </a:extLst>
              </a:tr>
              <a:tr h="4777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ҚҚ, ТОЖҚҚ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лданбау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ЖҚҚ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олмау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ұмыскерлердің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олданбау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рнай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иімнің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рнай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яқ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иімнің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ЖҚҚ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олмау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ұмыскерлердің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олданбауы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204516"/>
                  </a:ext>
                </a:extLst>
              </a:tr>
              <a:tr h="63404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Электр </a:t>
                      </a:r>
                      <a:r>
                        <a:rPr lang="ru-RU" sz="11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ауіпсіздігі</a:t>
                      </a:r>
                      <a:r>
                        <a:rPr lang="ru-RU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Ақаул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елілік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діңгектерді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пайдалан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ралдард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ексер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урал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ирканың</a:t>
                      </a:r>
                      <a:r>
                        <a:rPr lang="ru-RU" sz="11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лмау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электр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ауіпсіздігі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бойынш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опқа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куәліктер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оқ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арату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құрылғылары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жерге</a:t>
                      </a:r>
                      <a:r>
                        <a:rPr lang="ru-RU" sz="11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тұйықталмаған</a:t>
                      </a:r>
                      <a:endParaRPr lang="ru-RU" sz="11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758842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6724074" y="141108"/>
            <a:ext cx="53756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ҢБЕК ҚАУІПСІЗДІГІ ЖӘНЕ ЕҢБЕКТІ ҚОРҒАУ</a:t>
            </a: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2402575"/>
              </p:ext>
            </p:extLst>
          </p:nvPr>
        </p:nvGraphicFramePr>
        <p:xfrm>
          <a:off x="6643687" y="1890712"/>
          <a:ext cx="5169622" cy="462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91675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8377215" y="170133"/>
            <a:ext cx="37075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ЛЫҚ САЯСАТ</a:t>
            </a:r>
          </a:p>
        </p:txBody>
      </p:sp>
      <p:graphicFrame>
        <p:nvGraphicFramePr>
          <p:cNvPr id="10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0238831"/>
              </p:ext>
            </p:extLst>
          </p:nvPr>
        </p:nvGraphicFramePr>
        <p:xfrm>
          <a:off x="167887" y="3234834"/>
          <a:ext cx="4493044" cy="1295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381340" y="706404"/>
            <a:ext cx="5056829" cy="138499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0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усымда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ерсонал саны –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4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8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дам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соналдың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с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уытта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1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kk-KZ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ғары білімі бар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94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дам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52 %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en-US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рақтылық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дексі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</a:t>
            </a:r>
            <a:r>
              <a:rPr lang="en-US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RS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 –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%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2800" y="4481949"/>
            <a:ext cx="65574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лық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резерв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локтің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зициялар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5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тыжылдықт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лыптастырылд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ақытш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лық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зервк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509293"/>
              </p:ext>
            </p:extLst>
          </p:nvPr>
        </p:nvGraphicFramePr>
        <p:xfrm>
          <a:off x="183922" y="5284542"/>
          <a:ext cx="6242908" cy="1435841"/>
        </p:xfrm>
        <a:graphic>
          <a:graphicData uri="http://schemas.openxmlformats.org/drawingml/2006/table">
            <a:tbl>
              <a:tblPr/>
              <a:tblGrid>
                <a:gridCol w="1651380">
                  <a:extLst>
                    <a:ext uri="{9D8B030D-6E8A-4147-A177-3AD203B41FA5}">
                      <a16:colId xmlns:a16="http://schemas.microsoft.com/office/drawing/2014/main" val="2867332898"/>
                    </a:ext>
                  </a:extLst>
                </a:gridCol>
                <a:gridCol w="1043564">
                  <a:extLst>
                    <a:ext uri="{9D8B030D-6E8A-4147-A177-3AD203B41FA5}">
                      <a16:colId xmlns:a16="http://schemas.microsoft.com/office/drawing/2014/main" val="2403068950"/>
                    </a:ext>
                  </a:extLst>
                </a:gridCol>
                <a:gridCol w="1070336">
                  <a:extLst>
                    <a:ext uri="{9D8B030D-6E8A-4147-A177-3AD203B41FA5}">
                      <a16:colId xmlns:a16="http://schemas.microsoft.com/office/drawing/2014/main" val="3847441973"/>
                    </a:ext>
                  </a:extLst>
                </a:gridCol>
                <a:gridCol w="1134268">
                  <a:extLst>
                    <a:ext uri="{9D8B030D-6E8A-4147-A177-3AD203B41FA5}">
                      <a16:colId xmlns:a16="http://schemas.microsoft.com/office/drawing/2014/main" val="692474092"/>
                    </a:ext>
                  </a:extLst>
                </a:gridCol>
                <a:gridCol w="1343360">
                  <a:extLst>
                    <a:ext uri="{9D8B030D-6E8A-4147-A177-3AD203B41FA5}">
                      <a16:colId xmlns:a16="http://schemas.microsoft.com/office/drawing/2014/main" val="3855520380"/>
                    </a:ext>
                  </a:extLst>
                </a:gridCol>
              </a:tblGrid>
              <a:tr h="6756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дрлық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резерв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лауазымдарының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әсіптерінің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те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ұрған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ызметшілердің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оның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35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сқа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ейінгі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вервт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ұрған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ызметшілер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ағайындалған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те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ұрған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ызметшілер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дрлық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тен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ағайындау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%</a:t>
                      </a:r>
                    </a:p>
                  </a:txBody>
                  <a:tcPr marL="4786" marR="4786" marT="47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945672"/>
                  </a:ext>
                </a:extLst>
              </a:tr>
              <a:tr h="3337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1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4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8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3590" marR="3590" marT="359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825136"/>
                  </a:ext>
                </a:extLst>
              </a:tr>
            </a:tbl>
          </a:graphicData>
        </a:graphic>
      </p:graphicFrame>
      <p:graphicFrame>
        <p:nvGraphicFramePr>
          <p:cNvPr id="18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4522345"/>
              </p:ext>
            </p:extLst>
          </p:nvPr>
        </p:nvGraphicFramePr>
        <p:xfrm>
          <a:off x="6705300" y="1069973"/>
          <a:ext cx="4986097" cy="942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6621620" y="762196"/>
            <a:ext cx="2808312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рақтамау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эффициенті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856800646"/>
              </p:ext>
            </p:extLst>
          </p:nvPr>
        </p:nvGraphicFramePr>
        <p:xfrm>
          <a:off x="6890327" y="4530407"/>
          <a:ext cx="5194473" cy="2378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6803936" y="1764657"/>
            <a:ext cx="2634380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kk-KZ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рақтамау себептері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059865"/>
              </p:ext>
            </p:extLst>
          </p:nvPr>
        </p:nvGraphicFramePr>
        <p:xfrm>
          <a:off x="497399" y="2154490"/>
          <a:ext cx="3575003" cy="11539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07054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1567949">
                  <a:extLst>
                    <a:ext uri="{9D8B030D-6E8A-4147-A177-3AD203B41FA5}">
                      <a16:colId xmlns:a16="http://schemas.microsoft.com/office/drawing/2014/main" val="3378561140"/>
                    </a:ext>
                  </a:extLst>
                </a:gridCol>
              </a:tblGrid>
              <a:tr h="25042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С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ЛЕСІ,</a:t>
                      </a:r>
                      <a:r>
                        <a:rPr lang="ru-RU" sz="10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%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209884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35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 дейін</a:t>
                      </a:r>
                      <a:endParaRPr sz="1199" b="0" kern="1200" spc="-5" dirty="0">
                        <a:solidFill>
                          <a:srgbClr val="001F5F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3</a:t>
                      </a:r>
                      <a:r>
                        <a:rPr lang="ru-RU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8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%</a:t>
                      </a: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694791"/>
                  </a:ext>
                </a:extLst>
              </a:tr>
              <a:tr h="209884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36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-дан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 45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-ке дейін</a:t>
                      </a:r>
                      <a:endParaRPr sz="1199" b="0" kern="1200" spc="-5" dirty="0">
                        <a:solidFill>
                          <a:srgbClr val="001F5F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30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%</a:t>
                      </a: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672263"/>
                  </a:ext>
                </a:extLst>
              </a:tr>
              <a:tr h="273165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45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-тен 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55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-ке дейін</a:t>
                      </a:r>
                      <a:endParaRPr sz="1199" b="0" kern="1200" spc="-5" dirty="0">
                        <a:solidFill>
                          <a:srgbClr val="001F5F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%</a:t>
                      </a: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9684910"/>
                  </a:ext>
                </a:extLst>
              </a:tr>
              <a:tr h="21056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55 </a:t>
                      </a:r>
                      <a:r>
                        <a:rPr lang="kk-KZ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жас және одан жоғары</a:t>
                      </a:r>
                      <a:endParaRPr sz="1199" b="0" kern="1200" spc="-5" dirty="0">
                        <a:solidFill>
                          <a:srgbClr val="001F5F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sz="1199" b="0" kern="1200" spc="-5" dirty="0">
                          <a:solidFill>
                            <a:srgbClr val="001F5F"/>
                          </a:solidFill>
                          <a:latin typeface="Arial"/>
                          <a:ea typeface="+mn-ea"/>
                          <a:cs typeface="Arial"/>
                        </a:rPr>
                        <a:t>%</a:t>
                      </a:r>
                    </a:p>
                  </a:txBody>
                  <a:tcPr marL="0" marR="0" marT="10785" marB="0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496414"/>
                  </a:ext>
                </a:extLst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195950"/>
              </p:ext>
            </p:extLst>
          </p:nvPr>
        </p:nvGraphicFramePr>
        <p:xfrm>
          <a:off x="6803936" y="2012090"/>
          <a:ext cx="5179144" cy="27422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2973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863106">
                  <a:extLst>
                    <a:ext uri="{9D8B030D-6E8A-4147-A177-3AD203B41FA5}">
                      <a16:colId xmlns:a16="http://schemas.microsoft.com/office/drawing/2014/main" val="1492329516"/>
                    </a:ext>
                  </a:extLst>
                </a:gridCol>
                <a:gridCol w="1025858">
                  <a:extLst>
                    <a:ext uri="{9D8B030D-6E8A-4147-A177-3AD203B41FA5}">
                      <a16:colId xmlns:a16="http://schemas.microsoft.com/office/drawing/2014/main" val="1935545649"/>
                    </a:ext>
                  </a:extLst>
                </a:gridCol>
                <a:gridCol w="1227207">
                  <a:extLst>
                    <a:ext uri="{9D8B030D-6E8A-4147-A177-3AD203B41FA5}">
                      <a16:colId xmlns:a16="http://schemas.microsoft.com/office/drawing/2014/main" val="4079598055"/>
                    </a:ext>
                  </a:extLst>
                </a:gridCol>
              </a:tblGrid>
              <a:tr h="83952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-ші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ртыжылдығы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4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1-ші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ртыжылдығы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-ші </a:t>
                      </a:r>
                      <a:r>
                        <a:rPr lang="ru-RU" sz="12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ртыжылдығы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3421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ізімдік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411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451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495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13874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оның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RU" sz="1200" b="1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694791"/>
                  </a:ext>
                </a:extLst>
              </a:tr>
              <a:tr h="290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ҚР </a:t>
                      </a:r>
                      <a:r>
                        <a:rPr lang="ru-RU" sz="1200" b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1200" b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өшу</a:t>
                      </a:r>
                      <a:endParaRPr lang="ru-RU" sz="1200" b="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  <a:endParaRPr lang="ru-RU" sz="1200" b="0" i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814374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РФ-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өшу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320590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лыс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шетелге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шығу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9868094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Зейнетерлікке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шығу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8672263"/>
                  </a:ext>
                </a:extLst>
              </a:tr>
              <a:tr h="342149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Зиянды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еңбек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ағдайлар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шығу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(55 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967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54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334347" y="620688"/>
            <a:ext cx="8550820" cy="0"/>
          </a:xfrm>
          <a:prstGeom prst="line">
            <a:avLst/>
          </a:prstGeom>
          <a:noFill/>
          <a:ln w="15875" cmpd="sng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233250" y="796958"/>
            <a:ext cx="5563532" cy="4278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025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жылғы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1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қаңтардан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бастап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лауазымдық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айлықақылары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мен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тарифтік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мөлшерлемелері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en-US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6,5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%-</a:t>
            </a:r>
            <a:r>
              <a:rPr lang="ru-RU" altLang="ru-RU" sz="1390" b="1" dirty="0" err="1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ға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өсті</a:t>
            </a:r>
            <a:endParaRPr lang="en-US" altLang="ru-RU" sz="1390" dirty="0">
              <a:solidFill>
                <a:srgbClr val="002060"/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33250" y="1336401"/>
            <a:ext cx="573857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buSzPct val="106000"/>
            </a:pP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керлерг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ыйлықақ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руг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468 </a:t>
            </a:r>
            <a:r>
              <a:rPr lang="ru-RU" alt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н </a:t>
            </a:r>
            <a:r>
              <a:rPr lang="ru-RU" alt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ңге</a:t>
            </a:r>
            <a:r>
              <a:rPr lang="ru-RU" alt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іберілді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alt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buSzPct val="106000"/>
            </a:pPr>
            <a:r>
              <a:rPr lang="ru-RU" alt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ның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шінде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67887" y="3456485"/>
            <a:ext cx="577095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2075" algn="just">
              <a:spcBef>
                <a:spcPct val="0"/>
              </a:spcBef>
            </a:pP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онымен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атар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2025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6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йдағ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ыйлықақ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беру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көрсеткіштерін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рындамаған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ұмыстағ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өндірістік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лқылықтар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үшін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20,6 млн.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теңге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омасына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169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ызметкерге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ыйлықақ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мөлшері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төмендетілді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ru-RU" altLang="ru-RU" sz="140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6766560" y="161365"/>
            <a:ext cx="5419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ҢБЕКАҚЫ ТӨЛЕУ ЖӘНЕ ӘЛЕУМЕТТІК ҚОЛДАУ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045321" y="756914"/>
            <a:ext cx="5983690" cy="71903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>
              <a:buSzPct val="106000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-ші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ртыжылдықт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керлерді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лдауғ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066 млн.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іберілді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ның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шінде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algn="ctr">
              <a:buSzPct val="106000"/>
            </a:pP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684097"/>
              </p:ext>
            </p:extLst>
          </p:nvPr>
        </p:nvGraphicFramePr>
        <p:xfrm>
          <a:off x="6040411" y="1249109"/>
          <a:ext cx="5887035" cy="5573135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4661688">
                  <a:extLst>
                    <a:ext uri="{9D8B030D-6E8A-4147-A177-3AD203B41FA5}">
                      <a16:colId xmlns:a16="http://schemas.microsoft.com/office/drawing/2014/main" val="3662711862"/>
                    </a:ext>
                  </a:extLst>
                </a:gridCol>
                <a:gridCol w="672191">
                  <a:extLst>
                    <a:ext uri="{9D8B030D-6E8A-4147-A177-3AD203B41FA5}">
                      <a16:colId xmlns:a16="http://schemas.microsoft.com/office/drawing/2014/main" val="1314886555"/>
                    </a:ext>
                  </a:extLst>
                </a:gridCol>
                <a:gridCol w="553156">
                  <a:extLst>
                    <a:ext uri="{9D8B030D-6E8A-4147-A177-3AD203B41FA5}">
                      <a16:colId xmlns:a16="http://schemas.microsoft.com/office/drawing/2014/main" val="18648555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тауы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ома, млн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дамдар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7612"/>
                  </a:ext>
                </a:extLst>
              </a:tr>
              <a:tr h="28340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емалысқ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етке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езд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ауықтыруғ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іржолғы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99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 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8583917"/>
                  </a:ext>
                </a:extLst>
              </a:tr>
              <a:tr h="194056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іржолғы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ат.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өмек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сқарм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шешімі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8284659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Уақыт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еңбекке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арамсыздық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әрдемақығ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қосым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қы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5568647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едицинал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149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4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7436114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амақтану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өтемақысы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57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5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6321482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анаториялық-курортт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емде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0276426"/>
                  </a:ext>
                </a:extLst>
              </a:tr>
              <a:tr h="249843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Уақыт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еңбекке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арамсыздық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әрдемақы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(ҚР ЕК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әйкес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136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071833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ерейтойл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аталарғ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орай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атериалд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өмек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8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541484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ерлеу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рәсімі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ұйымдастыруғ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атериалдық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өмек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7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1738622"/>
                  </a:ext>
                </a:extLst>
              </a:tr>
              <a:tr h="35630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Оқу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қылы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емалыстар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бер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9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0055920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ұмыскердің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нек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қиюын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йланысты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дер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і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0010136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ла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үниег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елгенд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ерілеті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10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2105466"/>
                  </a:ext>
                </a:extLst>
              </a:tr>
              <a:tr h="33347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Жеке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оммериял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лабақшаларғ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ақы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4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0740732"/>
                  </a:ext>
                </a:extLst>
              </a:tr>
              <a:tr h="24644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ұмыскерлер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олардың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лаларын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ауықтандыру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емалт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34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9278138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үктілік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ен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сану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демалыс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4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39613"/>
                  </a:ext>
                </a:extLst>
              </a:tr>
              <a:tr h="33616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ұрғы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үйді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жалдау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йланысты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өтемақы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дері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қарыздар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дер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20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8532702"/>
                  </a:ext>
                </a:extLst>
              </a:tr>
              <a:tr h="360278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әдени-көпшілік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порттық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іс-шаралар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өткізу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2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rgbClr val="3A5D70"/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7596482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Зенеткерлікке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еткен</a:t>
                      </a:r>
                      <a:r>
                        <a:rPr lang="ru-RU" sz="11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ездегі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іржолғы</a:t>
                      </a:r>
                      <a:r>
                        <a:rPr lang="ru-RU" sz="11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өлем</a:t>
                      </a:r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3A5D70"/>
                          </a:solidFill>
                          <a:effectLst/>
                          <a:latin typeface="Century Gothic" panose="020B0502020202020204" pitchFamily="34" charset="0"/>
                        </a:rPr>
                        <a:t>33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2923997"/>
                  </a:ext>
                </a:extLst>
              </a:tr>
              <a:tr h="2122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06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414930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87389"/>
              </p:ext>
            </p:extLst>
          </p:nvPr>
        </p:nvGraphicFramePr>
        <p:xfrm>
          <a:off x="233249" y="1806224"/>
          <a:ext cx="5558623" cy="15805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43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50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81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Атауы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Сомасы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, млн. </a:t>
                      </a:r>
                      <a:r>
                        <a:rPr lang="ru-RU" sz="14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теңге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4" marR="9524" marT="714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07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ір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ай/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тоқсанға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өндірістік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өрсеткіштерді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орындаған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baseline="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ыйлықақылар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US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 434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68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Біржолғы</a:t>
                      </a: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ыйлықақы</a:t>
                      </a: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беру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US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768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Мерекелерге</a:t>
                      </a: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орай</a:t>
                      </a: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9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ыйлықақы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US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232221"/>
                  </a:ext>
                </a:extLst>
              </a:tr>
              <a:tr h="19811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1400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Барлығы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468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2334074898"/>
              </p:ext>
            </p:extLst>
          </p:nvPr>
        </p:nvGraphicFramePr>
        <p:xfrm>
          <a:off x="76406" y="4746068"/>
          <a:ext cx="5921375" cy="19872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233249" y="4318259"/>
            <a:ext cx="5563532" cy="4278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025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жылғы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2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маусымнан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бастап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жана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b="1" dirty="0" err="1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Ұжымдық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b="1" dirty="0" err="1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шарт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қабылданды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.</a:t>
            </a:r>
            <a:r>
              <a:rPr lang="ru-RU" altLang="ru-RU" sz="139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Негізгі</a:t>
            </a:r>
            <a:r>
              <a:rPr lang="ru-RU" altLang="ru-RU" sz="139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39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жаңалық</a:t>
            </a:r>
            <a:r>
              <a:rPr lang="ru-RU" altLang="ru-RU" sz="139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: </a:t>
            </a:r>
            <a:endParaRPr lang="en-US" altLang="ru-RU" sz="139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r>
          </a:p>
        </p:txBody>
      </p:sp>
    </p:spTree>
    <p:extLst>
      <p:ext uri="{BB962C8B-B14F-4D97-AF65-F5344CB8AC3E}">
        <p14:creationId xmlns:p14="http://schemas.microsoft.com/office/powerpoint/2010/main" val="21896300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380519" y="188640"/>
            <a:ext cx="4739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СОНАЛДЫ ОҚЫТУ ЖӘНЕ ДАМЫТУ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067915"/>
              </p:ext>
            </p:extLst>
          </p:nvPr>
        </p:nvGraphicFramePr>
        <p:xfrm>
          <a:off x="258556" y="969695"/>
          <a:ext cx="4864751" cy="4198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1810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822212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890729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</a:tblGrid>
              <a:tr h="5628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қыту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үрі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2024  </a:t>
                      </a:r>
                      <a:r>
                        <a:rPr lang="ru-RU" sz="1200" b="1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ылғы</a:t>
                      </a: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            6 ай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025 </a:t>
                      </a:r>
                      <a:r>
                        <a:rPr lang="ru-RU" sz="1200" b="1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жылғы</a:t>
                      </a: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                6 ай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323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іліктілікті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рттыру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соның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ішінде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712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661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28696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ұмысшы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персонал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436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2323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МҚ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47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2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4724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неркәсіптік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ауіпсіздік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ойынша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аярлау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айта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аярлау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231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 000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47246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аттықтыру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ешендерін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айдалана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тырып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қыту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15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 244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81379"/>
                  </a:ext>
                </a:extLst>
              </a:tr>
              <a:tr h="3752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Қауіпсіздік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мәдениеті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»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бойынша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оқыту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860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-*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732684"/>
                  </a:ext>
                </a:extLst>
              </a:tr>
              <a:tr h="5628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«Электр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қауіпсіздігі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» курсы (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электртехникалық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емес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персонал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үшін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167</a:t>
                      </a:r>
                      <a:endParaRPr lang="ru-RU" sz="1100" i="1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-**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719184"/>
                  </a:ext>
                </a:extLst>
              </a:tr>
              <a:tr h="25635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Оқытылған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 персонал,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барлығы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: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 12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 90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350243"/>
                  </a:ext>
                </a:extLst>
              </a:tr>
              <a:tr h="5628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ерсоналды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қытуға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еткен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шығындар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endParaRPr lang="en-US" sz="1200" baseline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мың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еңге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1 433 ,9</a:t>
                      </a:r>
                      <a:endParaRPr lang="ru-RU" sz="120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4 959</a:t>
                      </a:r>
                      <a:endParaRPr lang="ru-RU" sz="120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882285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238475" y="5341534"/>
            <a:ext cx="4884832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қыту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курстарын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ңтайландыру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(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іріктіру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)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есебінен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ӨҚ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мәселелері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қытылған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персонал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анының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заюына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ол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еткізілді</a:t>
            </a:r>
            <a:r>
              <a:rPr lang="ru-RU" sz="11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Корпоративтік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нысандағы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«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ауіпсіздік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мәдениеті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» 2025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ылдың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2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артыжылдығында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өткізіледі</a:t>
            </a:r>
            <a:endParaRPr lang="ru-RU" sz="105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«Электр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ауіпсіздігі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» курсы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айта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қытуға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ажеттілік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жоқ</a:t>
            </a:r>
            <a:endParaRPr lang="ru-RU" sz="105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018029"/>
              </p:ext>
            </p:extLst>
          </p:nvPr>
        </p:nvGraphicFramePr>
        <p:xfrm>
          <a:off x="5608362" y="1019638"/>
          <a:ext cx="6325083" cy="22325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256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3720685">
                  <a:extLst>
                    <a:ext uri="{9D8B030D-6E8A-4147-A177-3AD203B41FA5}">
                      <a16:colId xmlns:a16="http://schemas.microsoft.com/office/drawing/2014/main" val="1314567947"/>
                    </a:ext>
                  </a:extLst>
                </a:gridCol>
                <a:gridCol w="929071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  <a:gridCol w="929071">
                  <a:extLst>
                    <a:ext uri="{9D8B030D-6E8A-4147-A177-3AD203B41FA5}">
                      <a16:colId xmlns:a16="http://schemas.microsoft.com/office/drawing/2014/main" val="1515814196"/>
                    </a:ext>
                  </a:extLst>
                </a:gridCol>
              </a:tblGrid>
              <a:tr h="3095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ндіріс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ның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тау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ылғы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6 ай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5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ылғы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6 ай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06888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МҚӨӨ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аяулатып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окстеу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11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9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208427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АМӨ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Изомерлеу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әне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фта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сплиттері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9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83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658514"/>
                  </a:ext>
                </a:extLst>
              </a:tr>
              <a:tr h="206888">
                <a:tc rowSpan="4"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МБӨӨ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Мұнайды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астапқы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ңдеу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ндірісі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4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35257"/>
                  </a:ext>
                </a:extLst>
              </a:tr>
              <a:tr h="166962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аталитикалық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иформинг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7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1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82629"/>
                  </a:ext>
                </a:extLst>
              </a:tr>
              <a:tr h="248984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изель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тынын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әне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еросинді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идротазарту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5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78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434578"/>
                  </a:ext>
                </a:extLst>
              </a:tr>
              <a:tr h="206888">
                <a:tc vMerge="1">
                  <a:txBody>
                    <a:bodyPr/>
                    <a:lstStyle/>
                    <a:p>
                      <a:pPr marL="0"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Газбен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фракциялау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60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9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810880"/>
                  </a:ext>
                </a:extLst>
              </a:tr>
              <a:tr h="166962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ӨжәнеЖЗШ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үкірт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ндіру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қондырғыс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0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166962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МТӨӨ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Мұнайды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ерең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ңдеу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өндірісі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47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8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71189"/>
                  </a:ext>
                </a:extLst>
              </a:tr>
              <a:tr h="2008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АРЛЫҒЫ: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155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44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</a:tbl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91344" y="692696"/>
            <a:ext cx="4713165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сонал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мыт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591944" y="692696"/>
            <a:ext cx="4595953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ьютерлік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ттықтыр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шендерінд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527133" y="742638"/>
            <a:ext cx="880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дам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EE50FEB-4288-477A-938B-141DAF187AD4}"/>
              </a:ext>
            </a:extLst>
          </p:cNvPr>
          <p:cNvSpPr/>
          <p:nvPr/>
        </p:nvSpPr>
        <p:spPr>
          <a:xfrm>
            <a:off x="5628443" y="3347615"/>
            <a:ext cx="63086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уаль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7E8604AE-BBCB-407A-ACEF-00C2671C4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963528"/>
              </p:ext>
            </p:extLst>
          </p:nvPr>
        </p:nvGraphicFramePr>
        <p:xfrm>
          <a:off x="5628443" y="3666786"/>
          <a:ext cx="6325082" cy="26155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17594">
                  <a:extLst>
                    <a:ext uri="{9D8B030D-6E8A-4147-A177-3AD203B41FA5}">
                      <a16:colId xmlns:a16="http://schemas.microsoft.com/office/drawing/2014/main" val="2547897437"/>
                    </a:ext>
                  </a:extLst>
                </a:gridCol>
                <a:gridCol w="1168924">
                  <a:extLst>
                    <a:ext uri="{9D8B030D-6E8A-4147-A177-3AD203B41FA5}">
                      <a16:colId xmlns:a16="http://schemas.microsoft.com/office/drawing/2014/main" val="2413753791"/>
                    </a:ext>
                  </a:extLst>
                </a:gridCol>
                <a:gridCol w="1065229">
                  <a:extLst>
                    <a:ext uri="{9D8B030D-6E8A-4147-A177-3AD203B41FA5}">
                      <a16:colId xmlns:a16="http://schemas.microsoft.com/office/drawing/2014/main" val="2588172055"/>
                    </a:ext>
                  </a:extLst>
                </a:gridCol>
                <a:gridCol w="773335">
                  <a:extLst>
                    <a:ext uri="{9D8B030D-6E8A-4147-A177-3AD203B41FA5}">
                      <a16:colId xmlns:a16="http://schemas.microsoft.com/office/drawing/2014/main" val="2074681349"/>
                    </a:ext>
                  </a:extLst>
                </a:gridCol>
              </a:tblGrid>
              <a:tr h="220406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5 </a:t>
                      </a:r>
                      <a:r>
                        <a:rPr lang="ru-RU" sz="1200" dirty="0" err="1">
                          <a:effectLst/>
                        </a:rPr>
                        <a:t>жылғы</a:t>
                      </a:r>
                      <a:r>
                        <a:rPr lang="ru-RU" sz="1200" dirty="0">
                          <a:effectLst/>
                        </a:rPr>
                        <a:t> 30 </a:t>
                      </a:r>
                      <a:r>
                        <a:rPr lang="ru-RU" sz="1200" dirty="0" err="1">
                          <a:effectLst/>
                        </a:rPr>
                        <a:t>маусымдағы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жағдай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бойынша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105613"/>
                  </a:ext>
                </a:extLst>
              </a:tr>
              <a:tr h="5527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effectLst/>
                        </a:rPr>
                        <a:t>Кәсіп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effectLst/>
                        </a:rPr>
                        <a:t>Бітірушілер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effectLst/>
                        </a:rPr>
                        <a:t>Оқуды</a:t>
                      </a:r>
                      <a:r>
                        <a:rPr lang="ru-RU" sz="1200" b="1" dirty="0">
                          <a:effectLst/>
                        </a:rPr>
                        <a:t> </a:t>
                      </a:r>
                      <a:r>
                        <a:rPr lang="ru-RU" sz="1200" b="1" dirty="0" err="1">
                          <a:effectLst/>
                        </a:rPr>
                        <a:t>жалғастыратындар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effectLst/>
                        </a:rPr>
                        <a:t>Барлығы</a:t>
                      </a:r>
                      <a:r>
                        <a:rPr lang="ru-RU" sz="1200" b="1" dirty="0">
                          <a:effectLst/>
                        </a:rPr>
                        <a:t> 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06839462"/>
                  </a:ext>
                </a:extLst>
              </a:tr>
              <a:tr h="2404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/қ</a:t>
                      </a:r>
                      <a:r>
                        <a:rPr lang="ru-RU" sz="1200" baseline="0" dirty="0">
                          <a:effectLst/>
                        </a:rPr>
                        <a:t> </a:t>
                      </a:r>
                      <a:r>
                        <a:rPr lang="ru-RU" sz="1200" baseline="0" dirty="0" err="1">
                          <a:effectLst/>
                        </a:rPr>
                        <a:t>операторлары</a:t>
                      </a:r>
                      <a:r>
                        <a:rPr lang="ru-RU" sz="1200" dirty="0">
                          <a:effectLst/>
                        </a:rPr>
                        <a:t> (</a:t>
                      </a:r>
                      <a:r>
                        <a:rPr lang="ru-RU" sz="1200" dirty="0" err="1">
                          <a:effectLst/>
                        </a:rPr>
                        <a:t>тәжірибеден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өтушілер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6917275"/>
                  </a:ext>
                </a:extLst>
              </a:tr>
              <a:tr h="2404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/с </a:t>
                      </a:r>
                      <a:r>
                        <a:rPr lang="ru-RU" sz="1200" dirty="0" err="1">
                          <a:effectLst/>
                        </a:rPr>
                        <a:t>машинистері</a:t>
                      </a:r>
                      <a:r>
                        <a:rPr lang="ru-RU" sz="1200" dirty="0">
                          <a:effectLst/>
                        </a:rPr>
                        <a:t> (</a:t>
                      </a:r>
                      <a:r>
                        <a:rPr lang="ru-RU" sz="1200" dirty="0" err="1">
                          <a:effectLst/>
                        </a:rPr>
                        <a:t>тәжірибеден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өтушілер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6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05969779"/>
                  </a:ext>
                </a:extLst>
              </a:tr>
              <a:tr h="2404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effectLst/>
                        </a:rPr>
                        <a:t>БӨАжәнеА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сілесірлері</a:t>
                      </a:r>
                      <a:r>
                        <a:rPr lang="ru-RU" sz="1200" dirty="0">
                          <a:effectLst/>
                        </a:rPr>
                        <a:t> (</a:t>
                      </a:r>
                      <a:r>
                        <a:rPr lang="ru-RU" sz="1200" dirty="0" err="1">
                          <a:effectLst/>
                        </a:rPr>
                        <a:t>тәжірибеден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өтушілер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-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5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56724884"/>
                  </a:ext>
                </a:extLst>
              </a:tr>
              <a:tr h="5527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Электр </a:t>
                      </a:r>
                      <a:r>
                        <a:rPr lang="ru-RU" sz="1200" dirty="0" err="1">
                          <a:effectLst/>
                        </a:rPr>
                        <a:t>жабдықтарын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жөндеу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және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қызмет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көрсету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жөніндегі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электрмонтерлер</a:t>
                      </a:r>
                      <a:r>
                        <a:rPr lang="ru-RU" sz="1200" baseline="0" dirty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(</a:t>
                      </a:r>
                      <a:r>
                        <a:rPr lang="ru-RU" sz="1200" dirty="0" err="1">
                          <a:effectLst/>
                        </a:rPr>
                        <a:t>тәжірибеден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err="1">
                          <a:effectLst/>
                        </a:rPr>
                        <a:t>өтушілер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-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6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6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88330134"/>
                  </a:ext>
                </a:extLst>
              </a:tr>
              <a:tr h="49941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АЛПЫ</a:t>
                      </a: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1031761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DFB3ECBA-EFBF-4D8A-951D-815E150D88CB}"/>
              </a:ext>
            </a:extLst>
          </p:cNvPr>
          <p:cNvSpPr txBox="1"/>
          <p:nvPr/>
        </p:nvSpPr>
        <p:spPr>
          <a:xfrm>
            <a:off x="5628443" y="6213573"/>
            <a:ext cx="62885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25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жыл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дуальд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ыса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бітірушілерді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жұмысқ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рналастыр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00%</a:t>
            </a:r>
          </a:p>
        </p:txBody>
      </p:sp>
      <p:sp>
        <p:nvSpPr>
          <p:cNvPr id="1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r>
          </a:p>
        </p:txBody>
      </p:sp>
    </p:spTree>
    <p:extLst>
      <p:ext uri="{BB962C8B-B14F-4D97-AF65-F5344CB8AC3E}">
        <p14:creationId xmlns:p14="http://schemas.microsoft.com/office/powerpoint/2010/main" val="124495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468107"/>
              </p:ext>
            </p:extLst>
          </p:nvPr>
        </p:nvGraphicFramePr>
        <p:xfrm>
          <a:off x="361150" y="952623"/>
          <a:ext cx="11443752" cy="5077104"/>
        </p:xfrm>
        <a:graphic>
          <a:graphicData uri="http://schemas.openxmlformats.org/drawingml/2006/table">
            <a:tbl>
              <a:tblPr/>
              <a:tblGrid>
                <a:gridCol w="5449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4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8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149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202641860"/>
                    </a:ext>
                  </a:extLst>
                </a:gridCol>
                <a:gridCol w="950976">
                  <a:extLst>
                    <a:ext uri="{9D8B030D-6E8A-4147-A177-3AD203B41FA5}">
                      <a16:colId xmlns:a16="http://schemas.microsoft.com/office/drawing/2014/main" val="2793796314"/>
                    </a:ext>
                  </a:extLst>
                </a:gridCol>
                <a:gridCol w="841246">
                  <a:extLst>
                    <a:ext uri="{9D8B030D-6E8A-4147-A177-3AD203B41FA5}">
                      <a16:colId xmlns:a16="http://schemas.microsoft.com/office/drawing/2014/main" val="3639486933"/>
                    </a:ext>
                  </a:extLst>
                </a:gridCol>
              </a:tblGrid>
              <a:tr h="775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Атауы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7621" marR="7621" marT="761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1 </a:t>
                      </a:r>
                      <a:r>
                        <a:rPr lang="ru-RU" sz="14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жыл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2 </a:t>
                      </a: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жыл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3 </a:t>
                      </a:r>
                      <a:r>
                        <a:rPr lang="ru-RU" sz="14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жыл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4 </a:t>
                      </a:r>
                      <a:r>
                        <a:rPr lang="ru-RU" sz="14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жыл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5 жылғы 1 жартыжылдықтағы нақты деректер 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5 </a:t>
                      </a: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жылғы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жоспар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Атауы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7621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 0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 167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 1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9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 3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 9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Республикалық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юджетке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өленген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өлемдер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рлығ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оның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ішінд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: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 2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261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5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3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5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ҚС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 7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901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6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 6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8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 9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ТС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едендік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өлемдер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6 9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9 482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7 0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3 6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0 9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3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24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ергілікті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юджетке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өленген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өлемдер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рлығ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оның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ішінд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: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5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2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2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2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 4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870258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ТС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77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7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 7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800031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леуметтік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алық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 8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6 1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3 1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7 6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6 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787350"/>
                  </a:ext>
                </a:extLst>
              </a:tr>
              <a:tr h="3144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кциздер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 1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1017558"/>
                  </a:ext>
                </a:extLst>
              </a:tr>
              <a:tr h="3305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оршаған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ртағ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эмиссиялар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үшін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қы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61</a:t>
                      </a:r>
                      <a:r>
                        <a:rPr lang="ru-RU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02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4 649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9 24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2 643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75 33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43 14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281052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361151" y="6096000"/>
            <a:ext cx="11443752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</a:t>
            </a:r>
            <a:r>
              <a:rPr lang="kk-KZ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ХЗ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ңірдің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рі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өлеушісі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лалық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лықтардың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сімінде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%-дан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стамд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669280" y="169265"/>
            <a:ext cx="64182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</a:t>
            </a:r>
            <a:r>
              <a:rPr lang="ru-RU" sz="20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 БЮДЖЕТІНЕ ТӨЛЕМДЕР, млн. </a:t>
            </a:r>
            <a:r>
              <a:rPr lang="ru-RU" sz="20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ңге</a:t>
            </a:r>
            <a:endParaRPr lang="ru-RU" sz="20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76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846317"/>
              </p:ext>
            </p:extLst>
          </p:nvPr>
        </p:nvGraphicFramePr>
        <p:xfrm>
          <a:off x="388143" y="1478782"/>
          <a:ext cx="11415714" cy="3541242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3914776">
                  <a:extLst>
                    <a:ext uri="{9D8B030D-6E8A-4147-A177-3AD203B41FA5}">
                      <a16:colId xmlns:a16="http://schemas.microsoft.com/office/drawing/2014/main" val="1172441033"/>
                    </a:ext>
                  </a:extLst>
                </a:gridCol>
                <a:gridCol w="2408215">
                  <a:extLst>
                    <a:ext uri="{9D8B030D-6E8A-4147-A177-3AD203B41FA5}">
                      <a16:colId xmlns:a16="http://schemas.microsoft.com/office/drawing/2014/main" val="1291402193"/>
                    </a:ext>
                  </a:extLst>
                </a:gridCol>
                <a:gridCol w="2489141">
                  <a:extLst>
                    <a:ext uri="{9D8B030D-6E8A-4147-A177-3AD203B41FA5}">
                      <a16:colId xmlns:a16="http://schemas.microsoft.com/office/drawing/2014/main" val="129850711"/>
                    </a:ext>
                  </a:extLst>
                </a:gridCol>
                <a:gridCol w="2603582">
                  <a:extLst>
                    <a:ext uri="{9D8B030D-6E8A-4147-A177-3AD203B41FA5}">
                      <a16:colId xmlns:a16="http://schemas.microsoft.com/office/drawing/2014/main" val="2715494859"/>
                    </a:ext>
                  </a:extLst>
                </a:gridCol>
              </a:tblGrid>
              <a:tr h="23841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ОМИНАЦИЯ 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рын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рын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рын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00058"/>
                  </a:ext>
                </a:extLst>
              </a:tr>
              <a:tr h="28307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ехнологиялық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ондырғыла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операторы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Хайрутдинов Олег,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МТӨӨ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годин Виктор,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МТӨӨ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стников Сергей, АМ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705165"/>
                  </a:ext>
                </a:extLst>
              </a:tr>
              <a:tr h="271063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ауа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операторы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Есенов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Ермек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АМӨ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маев Хамзат, АМ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арсыбеков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услан, МКТ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220980"/>
                  </a:ext>
                </a:extLst>
              </a:tr>
              <a:tr h="245627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ехнологиялық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орғыла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ашинисі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Щербаков Михаил,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МӨ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Лучининов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, АМҚӨ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ващенко Александр,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ӨжәнеЖЗШ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607140"/>
                  </a:ext>
                </a:extLst>
              </a:tr>
              <a:tr h="293053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мпрессорлық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қондырғыла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ашинисі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ыченко Максим, МТӨӨ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каков Бауыржан, 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ТӨӨ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мухаметов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рат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МБӨ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226132"/>
                  </a:ext>
                </a:extLst>
              </a:tr>
              <a:tr h="234318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химиялық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алдау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зертханашысы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мангелд</a:t>
                      </a:r>
                      <a:r>
                        <a:rPr lang="kk-KZ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і Ботагөз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З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вк Дарья, С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Фролова Юлия,  С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412176"/>
                  </a:ext>
                </a:extLst>
              </a:tr>
              <a:tr h="34650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лект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абдықтарын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өніндегі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лектрмонте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тин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Ярослав, ЭЖ </a:t>
                      </a: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ринев Иван, ЭЖ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потун Игорь,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ЭЖ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312168"/>
                  </a:ext>
                </a:extLst>
              </a:tr>
              <a:tr h="337478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спапшы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кишев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b="1" i="0" baseline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ҮБӨАжәнеА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r>
                        <a:rPr lang="ru-RU" sz="1200" b="1" i="0" baseline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200" b="1" i="0" dirty="0">
                        <a:solidFill>
                          <a:srgbClr val="5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хновец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енис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ҮБӨАжәнеА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алицкий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лег,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ҮБӨАжәнеА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59614"/>
                  </a:ext>
                </a:extLst>
              </a:tr>
              <a:tr h="34650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хнологиялық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ондырғыларды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өніндегі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ілесір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рам </a:t>
                      </a:r>
                      <a:r>
                        <a:rPr lang="ru-RU" sz="1200" b="1" i="0" dirty="0" err="1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ансұлтан</a:t>
                      </a: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устафин 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ркен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681049"/>
                  </a:ext>
                </a:extLst>
              </a:tr>
              <a:tr h="274405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Үздік кең бейінші білдекші»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ерасименко Сергей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мантаев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устам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Шапихов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анияр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921162"/>
                  </a:ext>
                </a:extLst>
              </a:tr>
              <a:tr h="39447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здік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лектрмен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200" b="1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азбен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әнекерлеуші</a:t>
                      </a: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5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ерезин Николай, ЖҚ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робьев Антон, Ж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101449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87639" y="789708"/>
            <a:ext cx="104004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ТКІЗУ МЕРЗІМІ: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5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1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урыз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18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усым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ТЫСУШЫЛАР САНЫ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200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кер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ҢА НОМИНАЦИЯЛАР: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ң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ейінді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ілдекші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, «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ме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азбен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әнекерлеуші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100660" y="188640"/>
            <a:ext cx="8019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ҮЗДІК МАМАН» КОНКУРСЫ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31D3BC5-F5DD-45C2-9139-BA2C05F8DCF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63" y="5010516"/>
            <a:ext cx="2300400" cy="15336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CBF22E-8BA8-4ABA-9A41-B8DD7C555D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1400" y="5010516"/>
            <a:ext cx="2300619" cy="153488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DA8F914-6565-41E7-ABD9-F9D88DB575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978" y="5009232"/>
            <a:ext cx="2300619" cy="153374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E9DAC94-5E5F-4143-ADF1-4420D05145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"/>
          <a:stretch/>
        </p:blipFill>
        <p:spPr>
          <a:xfrm>
            <a:off x="387925" y="5010516"/>
            <a:ext cx="2269200" cy="153374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D7BE768-49A5-4EFE-99B2-C5892BD1EC0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5" t="8782" r="7337"/>
          <a:stretch/>
        </p:blipFill>
        <p:spPr>
          <a:xfrm>
            <a:off x="7263956" y="5010516"/>
            <a:ext cx="2267084" cy="1533600"/>
          </a:xfrm>
          <a:prstGeom prst="rect">
            <a:avLst/>
          </a:prstGeom>
        </p:spPr>
      </p:pic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384038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5190" y="70272"/>
            <a:ext cx="120840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РАПАТТАУ/</a:t>
            </a:r>
          </a:p>
          <a:p>
            <a:pPr algn="r"/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ӘРТІПТІК ЖАЗАЛАР</a:t>
            </a:r>
          </a:p>
          <a:p>
            <a:pPr algn="r"/>
            <a:endParaRPr lang="ru-RU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075913" y="6308758"/>
            <a:ext cx="51354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SzPct val="106000"/>
            </a:pPr>
            <a:endParaRPr lang="ru-RU" altLang="ru-RU" sz="900" b="1" u="sng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algn="just">
              <a:buSzPct val="106000"/>
            </a:pPr>
            <a:endParaRPr lang="ru-RU" altLang="ru-RU" sz="900" b="1" u="sng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694" y="5083153"/>
            <a:ext cx="2748447" cy="169481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7846" y="5083153"/>
            <a:ext cx="2695483" cy="174070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617537"/>
              </p:ext>
            </p:extLst>
          </p:nvPr>
        </p:nvGraphicFramePr>
        <p:xfrm>
          <a:off x="244823" y="739469"/>
          <a:ext cx="5584635" cy="4335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91650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992985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</a:tblGrid>
              <a:tr h="4328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градалар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5 </a:t>
                      </a:r>
                      <a:r>
                        <a:rPr lang="ru-RU" sz="1200" b="1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ылғы</a:t>
                      </a: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1-ші </a:t>
                      </a:r>
                      <a:r>
                        <a:rPr lang="ru-RU" sz="1200" b="1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жартыжылдық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98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Самұрық-Қазына» ҰӘҚ» АҚ төсбелгісі, құрмет  грамотасы, алғыс хат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3682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ҚазМұнайГаз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 ҰК» АҚ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3081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ҚазМұнайГаз» ҰК» АҚ құрмет грамотас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332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ҚазМұнайГаз» ҰК» АҚ естелік белгісі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2770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ҚазМұнайГаз» ҰК» АҚ алғыс хаты 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81379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лыс</a:t>
                      </a:r>
                      <a:r>
                        <a:rPr lang="kk-KZ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ен қала ә</a:t>
                      </a: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імдігі, мәслихаты 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732684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лыс әкімінің құрмет грамотасы, алғыс</a:t>
                      </a:r>
                      <a:r>
                        <a:rPr lang="kk-KZ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хат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719184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ала әкімінің құрмет грамотасы, алғыс хат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350243"/>
                  </a:ext>
                </a:extLst>
              </a:tr>
              <a:tr h="2925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МХЗ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882285"/>
                  </a:ext>
                </a:extLst>
              </a:tr>
              <a:tr h="3267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с директордың алғыс хат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3655841"/>
                  </a:ext>
                </a:extLst>
              </a:tr>
              <a:tr h="998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  БАРЛЫҒЫ:</a:t>
                      </a: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238616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698534"/>
              </p:ext>
            </p:extLst>
          </p:nvPr>
        </p:nvGraphicFramePr>
        <p:xfrm>
          <a:off x="6047568" y="845938"/>
          <a:ext cx="5803056" cy="18283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9120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2127374">
                  <a:extLst>
                    <a:ext uri="{9D8B030D-6E8A-4147-A177-3AD203B41FA5}">
                      <a16:colId xmlns:a16="http://schemas.microsoft.com/office/drawing/2014/main" val="1716300444"/>
                    </a:ext>
                  </a:extLst>
                </a:gridCol>
                <a:gridCol w="1846562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</a:tblGrid>
              <a:tr h="5405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әртіптік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залардың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4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 1-ші </a:t>
                      </a:r>
                      <a:r>
                        <a:rPr lang="ru-RU" sz="1200" b="1" kern="1200" baseline="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жартыжылдығ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200" b="1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жылғы</a:t>
                      </a: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 1-ші </a:t>
                      </a:r>
                      <a:r>
                        <a:rPr lang="ru-RU" sz="1200" b="1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жартыжылдық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937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Ескертпе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36284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өгіс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30356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Қатаң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өгіс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32760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БАРЛЫҒЫ: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</a:tbl>
          </a:graphicData>
        </a:graphic>
      </p:graphicFrame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1068333471"/>
              </p:ext>
            </p:extLst>
          </p:nvPr>
        </p:nvGraphicFramePr>
        <p:xfrm>
          <a:off x="6077215" y="2701628"/>
          <a:ext cx="5957454" cy="4003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664334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380519" y="188640"/>
            <a:ext cx="4739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ШЫ МАМАНДЫҚТАР ЖЫЛЫ 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73847" y="2399530"/>
            <a:ext cx="433354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рпоративтік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айтт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әйелге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ә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мес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ш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мандықтард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істиейті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әйелде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урал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рияланым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. </a:t>
            </a:r>
            <a:endParaRPr lang="en-US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ru-RU" sz="8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1. 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исин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әтим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жәнеК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орғ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шинисі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19E0067-D3E3-4357-B55C-7B38793855CE}"/>
              </a:ext>
            </a:extLst>
          </p:cNvPr>
          <p:cNvSpPr/>
          <p:nvPr/>
        </p:nvSpPr>
        <p:spPr>
          <a:xfrm>
            <a:off x="244642" y="767673"/>
            <a:ext cx="448319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ш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мандықта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лас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республикалық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фестивалі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2025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9-17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қпа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Астана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ласы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342900" indent="-342900">
              <a:buAutoNum type="arabicPeriod"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мірбек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Дамыс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– МТӨӨ С200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аталитикалық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крекинг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ректификацияла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сының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4-разрядты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операторы.  </a:t>
            </a:r>
          </a:p>
          <a:p>
            <a:pPr marL="342900" indent="-342900">
              <a:buAutoNum type="arabicPeriod"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Әлжанов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ұржа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ерікұл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– АМӨ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изомерлеу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афт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плиттері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сының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4-разрядты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операторы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8" y="740809"/>
            <a:ext cx="1480934" cy="183779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842" y="2578607"/>
            <a:ext cx="1622926" cy="208242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7" name="Прямоугольник 6"/>
          <p:cNvSpPr/>
          <p:nvPr/>
        </p:nvSpPr>
        <p:spPr>
          <a:xfrm>
            <a:off x="244642" y="3383764"/>
            <a:ext cx="433354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</a:t>
            </a:r>
            <a:r>
              <a:rPr lang="en-US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Mamandyq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Fest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та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форумы, 2025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30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мы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,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орталық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ғажай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, Павлодар қ. </a:t>
            </a:r>
          </a:p>
          <a:p>
            <a:pPr marL="171450" indent="-171450">
              <a:buFontTx/>
              <a:buChar char="-"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ла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тары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зауыттың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ндірістік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үдерісіме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ультимедиялық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оқулықтард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өрсете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аныстыру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әсіпорындағ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ғдайлар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уралы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әсіпорынның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етекші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мандарымен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диалог 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8499" y="757080"/>
            <a:ext cx="2509765" cy="158191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184" y="740809"/>
            <a:ext cx="2394282" cy="159818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351" y="2399530"/>
            <a:ext cx="2484149" cy="183310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1147" y="2399530"/>
            <a:ext cx="2427118" cy="183310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3074" name="Рисунок 1" descr="4308c646-eb2f-4a38-9370-6daf01f62e9e@PNHZ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658" y="4293173"/>
            <a:ext cx="2399606" cy="1586419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44643" y="4665092"/>
            <a:ext cx="8966397" cy="2115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олы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республикалық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конкурсы:</a:t>
            </a:r>
          </a:p>
          <a:p>
            <a:endParaRPr lang="ru-RU" sz="105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. «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Үзді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әулет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-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елоусовтар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отбас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:</a:t>
            </a:r>
            <a:r>
              <a:rPr lang="en-US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Белоусова Людмила Матвеевна (24.07.1967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.т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) –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ӨАжәнеА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ұралдарын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өндеу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учаскесінің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5-разрядты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ӨАжәнеА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ілесірі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тіл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 39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10 ай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;</a:t>
            </a:r>
          </a:p>
          <a:p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ихновец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Денис Александрович (13.10.1994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.т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) – АМӨ, КӨҚ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ӨАжәнеА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ұралдарына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ызмет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өрсету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учаскесінің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6-разрядты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спапшыс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  </a:t>
            </a:r>
          </a:p>
          <a:p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тіл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 11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2 ай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  <a:r>
              <a:rPr lang="kk-KZ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kk-KZ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Екеуінің жалпы жұмыс өтілі 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 51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</a:p>
          <a:p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2.  «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Үзді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әлімгер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</a:t>
            </a:r>
            <a:r>
              <a:rPr lang="en-US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Пермяков Денис Евгеньевич (21.08.1977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.т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) –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үкіртті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ұнайдан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зутт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вакуумд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йдау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сының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(C-001 КТ-1) 6-разрядты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операторы.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тіл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 23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10 ай. </a:t>
            </a:r>
          </a:p>
          <a:p>
            <a:endParaRPr lang="ru-RU" sz="8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3. «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Үзді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ұмыскер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</a:t>
            </a:r>
            <a:r>
              <a:rPr lang="en-US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йтуаров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Диас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мангелдіұл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 (23.01.2000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.т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.),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үкіртті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ұнайдан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зутт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вакуумды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йдау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сының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(C-001 КТ-1) 5-разрядты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ехнологиялық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ндырғылар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</a:rPr>
              <a:t> операторы.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тілі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 4 </a:t>
            </a:r>
            <a:r>
              <a:rPr lang="ru-RU" sz="105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ыл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2 ай.</a:t>
            </a:r>
          </a:p>
        </p:txBody>
      </p:sp>
    </p:spTree>
    <p:extLst>
      <p:ext uri="{BB962C8B-B14F-4D97-AF65-F5344CB8AC3E}">
        <p14:creationId xmlns:p14="http://schemas.microsoft.com/office/powerpoint/2010/main" val="11644321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2551328" y="897227"/>
            <a:ext cx="8201738" cy="1546991"/>
            <a:chOff x="3085626" y="955932"/>
            <a:chExt cx="5825632" cy="1546991"/>
          </a:xfrm>
        </p:grpSpPr>
        <p:sp>
          <p:nvSpPr>
            <p:cNvPr id="16" name="TextBox 15"/>
            <p:cNvSpPr txBox="1"/>
            <p:nvPr/>
          </p:nvSpPr>
          <p:spPr>
            <a:xfrm>
              <a:off x="7268097" y="1225650"/>
              <a:ext cx="1643161" cy="12772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7.03.2025 ж. </a:t>
              </a:r>
            </a:p>
            <a:p>
              <a:pPr>
                <a:defRPr/>
              </a:pP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025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жылғы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7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урызда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, 8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урыз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–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Халықаралық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әйелдер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күні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қарсаңында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«ПМХЗ» ЖШС-де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зауыттың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үздік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қызметкерлеріне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құттықтау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сөзі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айтылды</a:t>
              </a:r>
              <a:endPara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085626" y="955932"/>
              <a:ext cx="2150494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7373030" y="114416"/>
            <a:ext cx="4792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ТІК ІС-ШАРАЛАР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2636" y="1010239"/>
            <a:ext cx="2125958" cy="142069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850" y="880117"/>
            <a:ext cx="1907580" cy="115614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4" name="Прямоугольник 33"/>
          <p:cNvSpPr/>
          <p:nvPr/>
        </p:nvSpPr>
        <p:spPr>
          <a:xfrm>
            <a:off x="2166778" y="1043835"/>
            <a:ext cx="273907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.02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-де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шаңғ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р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зауыт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партакиада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талды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205850" y="5414966"/>
            <a:ext cx="2313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.03.2025 ж. </a:t>
            </a:r>
          </a:p>
          <a:p>
            <a:pPr>
              <a:defRPr/>
            </a:pP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шылары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асында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орттың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ияткерлік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лері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партакиада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ті</a:t>
            </a:r>
            <a:endParaRPr lang="ru-RU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456" y="5258954"/>
            <a:ext cx="1923087" cy="1266132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40" name="TextBox 39"/>
          <p:cNvSpPr txBox="1"/>
          <p:nvPr/>
        </p:nvSpPr>
        <p:spPr>
          <a:xfrm>
            <a:off x="2230654" y="3992188"/>
            <a:ext cx="23133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3.2025 ж. </a:t>
            </a:r>
          </a:p>
          <a:p>
            <a:pPr>
              <a:defRPr/>
            </a:pP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ұнайшылары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у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ыстарға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ты</a:t>
            </a:r>
            <a:endParaRPr lang="ru-RU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409" y="3775127"/>
            <a:ext cx="1939198" cy="120356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43" name="Прямоугольник 42"/>
          <p:cNvSpPr/>
          <p:nvPr/>
        </p:nvSpPr>
        <p:spPr>
          <a:xfrm>
            <a:off x="8439707" y="2884192"/>
            <a:ext cx="273907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03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-д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зауыт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керлерін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әдени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еш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стырылд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керлер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Ж.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ймауытов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тындағ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авлодар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ы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за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узыкалы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драм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еатрын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рып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йтт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2636" y="2846715"/>
            <a:ext cx="2125958" cy="143440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51" name="TextBox 50"/>
          <p:cNvSpPr txBox="1"/>
          <p:nvPr/>
        </p:nvSpPr>
        <p:spPr>
          <a:xfrm>
            <a:off x="2129432" y="2465708"/>
            <a:ext cx="231937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2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ж.</a:t>
            </a:r>
            <a:r>
              <a:rPr lang="en-US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шы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мандықтар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МХЗ-да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ына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экскурсия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0473" y="2360885"/>
            <a:ext cx="1903070" cy="1159199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  <a:p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62636" y="4727830"/>
            <a:ext cx="2125958" cy="147749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8" name="Прямоугольник 27"/>
          <p:cNvSpPr/>
          <p:nvPr/>
        </p:nvSpPr>
        <p:spPr>
          <a:xfrm>
            <a:off x="8398230" y="4866170"/>
            <a:ext cx="273907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03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аурызнам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рекес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стан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йырымдылы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өрме-жәрмеңкег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36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2551327" y="897227"/>
            <a:ext cx="30276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722533" y="190481"/>
            <a:ext cx="5407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ТІК ІС-ШАРАЛАР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111550" y="2187783"/>
            <a:ext cx="273907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4.2025 ж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 ж</a:t>
            </a:r>
            <a:r>
              <a:rPr lang="kk-KZ" sz="1100" dirty="0">
                <a:latin typeface="Arial" panose="020B0604020202020204" pitchFamily="34" charset="0"/>
                <a:cs typeface="Arial" panose="020B0604020202020204" pitchFamily="34" charset="0"/>
              </a:rPr>
              <a:t>ұмыскерлері республикалық сенбілікке қатысты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066405" y="4415917"/>
            <a:ext cx="273907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06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-де «Таз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урет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онкурсының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ла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шығарылды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7331" y="1713116"/>
            <a:ext cx="2698690" cy="158490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7806" y="3834423"/>
            <a:ext cx="2628215" cy="163427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012" y="4406413"/>
            <a:ext cx="2955505" cy="186788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3214517" y="5016081"/>
            <a:ext cx="242477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.03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ам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айынғ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шеберлік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конкурсы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талд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23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053" y="2650476"/>
            <a:ext cx="2652096" cy="1643184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5" name="Прямоугольник 24"/>
          <p:cNvSpPr/>
          <p:nvPr/>
        </p:nvSpPr>
        <p:spPr>
          <a:xfrm>
            <a:off x="3091149" y="2902916"/>
            <a:ext cx="273907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.03.2025 ж.</a:t>
            </a:r>
          </a:p>
          <a:p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өктемг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ңару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аурыз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рекес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рсаңынд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МХЗ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керлері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ттықтауларме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әмд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ағамдарме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уантт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830" y="955452"/>
            <a:ext cx="2671870" cy="1582271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1" name="Прямоугольник 30"/>
          <p:cNvSpPr/>
          <p:nvPr/>
        </p:nvSpPr>
        <p:spPr>
          <a:xfrm>
            <a:off x="3091149" y="1468423"/>
            <a:ext cx="273907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.03.2025 ж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МХЗ-д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иім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15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4421171" y="169265"/>
            <a:ext cx="77111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ТАР ІСТЕРІ ЖӨНІНДЕГІ КЕҢЕСТІҢ </a:t>
            </a:r>
          </a:p>
          <a:p>
            <a:pPr algn="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ШАРАЛАРЫ 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-188533" y="1675983"/>
            <a:ext cx="34446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Песчаное а.</a:t>
            </a:r>
          </a:p>
          <a:p>
            <a:pPr algn="ctr"/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алалар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үйінде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аурыз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 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00" y="2322314"/>
            <a:ext cx="2915599" cy="19578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71" y="4599682"/>
            <a:ext cx="2919828" cy="2006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31" name="Прямоугольник 30"/>
          <p:cNvSpPr/>
          <p:nvPr/>
        </p:nvSpPr>
        <p:spPr>
          <a:xfrm>
            <a:off x="2817899" y="762214"/>
            <a:ext cx="36573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«ПМХЗ» ЖШС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умағындағы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енбілік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049" y="3794112"/>
            <a:ext cx="3033989" cy="2022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249" y="1582250"/>
            <a:ext cx="2948645" cy="1965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40" name="Прямоугольник 39"/>
          <p:cNvSpPr/>
          <p:nvPr/>
        </p:nvSpPr>
        <p:spPr>
          <a:xfrm>
            <a:off x="8958753" y="721899"/>
            <a:ext cx="32332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ибер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турнир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ткізу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381" y="1408544"/>
            <a:ext cx="3011178" cy="2007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429" y="4048102"/>
            <a:ext cx="3014788" cy="2010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65644" y="2846438"/>
            <a:ext cx="2891882" cy="20048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6265643" y="1443842"/>
            <a:ext cx="26931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Шымкентте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ҚМГ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тар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форумына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тысу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53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689235" y="64550"/>
            <a:ext cx="8345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ТАР ІСТЕРІ ЖӨНІНДЕГІ КЕҢЕСТІҢ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С-ШАРАЛАРЫ 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40" y="1702529"/>
            <a:ext cx="3653622" cy="24357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355" y="4138276"/>
            <a:ext cx="3586390" cy="25729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60" y="1498971"/>
            <a:ext cx="3542127" cy="23612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361" y="3917362"/>
            <a:ext cx="4078948" cy="27192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4" name="Прямоугольник 23"/>
          <p:cNvSpPr/>
          <p:nvPr/>
        </p:nvSpPr>
        <p:spPr>
          <a:xfrm>
            <a:off x="1481650" y="992331"/>
            <a:ext cx="36573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Тыл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керлерін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ұттықтау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636724" y="717182"/>
            <a:ext cx="36573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Песчаное а.</a:t>
            </a:r>
          </a:p>
          <a:p>
            <a:pPr algn="ctr"/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алаларды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рғау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үні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r>
          </a:p>
        </p:txBody>
      </p:sp>
    </p:spTree>
    <p:extLst>
      <p:ext uri="{BB962C8B-B14F-4D97-AF65-F5344CB8AC3E}">
        <p14:creationId xmlns:p14="http://schemas.microsoft.com/office/powerpoint/2010/main" val="243836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5042846" y="30765"/>
            <a:ext cx="70707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ПМХЗ» ЖШС ҚҰРЫЛЫМДЫҚ БӨЛІМШЕЛЕРІ АРАСЫНДАҒЫ СПАРТАКИАДА ҚОРЫТЫНДЫЛАРЫ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084024"/>
              </p:ext>
            </p:extLst>
          </p:nvPr>
        </p:nvGraphicFramePr>
        <p:xfrm>
          <a:off x="167887" y="722804"/>
          <a:ext cx="11813444" cy="62520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8726">
                  <a:extLst>
                    <a:ext uri="{9D8B030D-6E8A-4147-A177-3AD203B41FA5}">
                      <a16:colId xmlns:a16="http://schemas.microsoft.com/office/drawing/2014/main" val="1448401516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4175827967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2988652120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859532719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736905445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017672269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127937036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2105139744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159818613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1899464954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795445549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3527265975"/>
                    </a:ext>
                  </a:extLst>
                </a:gridCol>
                <a:gridCol w="715830">
                  <a:extLst>
                    <a:ext uri="{9D8B030D-6E8A-4147-A177-3AD203B41FA5}">
                      <a16:colId xmlns:a16="http://schemas.microsoft.com/office/drawing/2014/main" val="3003225919"/>
                    </a:ext>
                  </a:extLst>
                </a:gridCol>
                <a:gridCol w="567078">
                  <a:extLst>
                    <a:ext uri="{9D8B030D-6E8A-4147-A177-3AD203B41FA5}">
                      <a16:colId xmlns:a16="http://schemas.microsoft.com/office/drawing/2014/main" val="3684562813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749020654"/>
                    </a:ext>
                  </a:extLst>
                </a:gridCol>
                <a:gridCol w="740341">
                  <a:extLst>
                    <a:ext uri="{9D8B030D-6E8A-4147-A177-3AD203B41FA5}">
                      <a16:colId xmlns:a16="http://schemas.microsoft.com/office/drawing/2014/main" val="3901882332"/>
                    </a:ext>
                  </a:extLst>
                </a:gridCol>
                <a:gridCol w="542567">
                  <a:extLst>
                    <a:ext uri="{9D8B030D-6E8A-4147-A177-3AD203B41FA5}">
                      <a16:colId xmlns:a16="http://schemas.microsoft.com/office/drawing/2014/main" val="550810206"/>
                    </a:ext>
                  </a:extLst>
                </a:gridCol>
                <a:gridCol w="641454">
                  <a:extLst>
                    <a:ext uri="{9D8B030D-6E8A-4147-A177-3AD203B41FA5}">
                      <a16:colId xmlns:a16="http://schemas.microsoft.com/office/drawing/2014/main" val="2903599700"/>
                    </a:ext>
                  </a:extLst>
                </a:gridCol>
              </a:tblGrid>
              <a:tr h="654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Шаңғ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тыс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үзу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оғыз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ұмалақ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Шашка</a:t>
                      </a:r>
                      <a:r>
                        <a:rPr lang="kk-KZ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Шахмат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ибер</a:t>
                      </a:r>
                      <a:b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порт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Үстел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еннисі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Гір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порт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олейбол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рмрестлинг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скетбол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иль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сық</a:t>
                      </a: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ту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Футбол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иын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рын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2749351154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4094517906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БӨӨ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2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3515267292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КТӨ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6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3602740000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жәнеЖЗШ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0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1958072597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ТӨӨ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3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2568281123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МҚӨӨ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3714095103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жәнеК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9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2910961367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МЦ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1335202273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З/б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6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23042059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Э/</a:t>
                      </a:r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абдықтау</a:t>
                      </a:r>
                      <a:r>
                        <a:rPr lang="ru-RU" sz="14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u="none" strike="noStrike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цех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3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1108605837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МӨ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3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34427442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Ж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5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2913750344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ҮБӨАжәнеА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8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1078882837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ҚМЦ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83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812091976"/>
                  </a:ext>
                </a:extLst>
              </a:tr>
              <a:tr h="33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ЖҚЦ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8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22" marR="8922" marT="8922" marB="0" anchor="ctr"/>
                </a:tc>
                <a:extLst>
                  <a:ext uri="{0D108BD9-81ED-4DB2-BD59-A6C34878D82A}">
                    <a16:rowId xmlns:a16="http://schemas.microsoft.com/office/drawing/2014/main" val="114185294"/>
                  </a:ext>
                </a:extLst>
              </a:tr>
            </a:tbl>
          </a:graphicData>
        </a:graphic>
      </p:graphicFrame>
      <p:sp>
        <p:nvSpPr>
          <p:cNvPr id="6" name="Номер слайда 12"/>
          <p:cNvSpPr txBox="1">
            <a:spLocks/>
          </p:cNvSpPr>
          <p:nvPr/>
        </p:nvSpPr>
        <p:spPr>
          <a:xfrm>
            <a:off x="11929587" y="6595403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1320560" y="1949070"/>
            <a:ext cx="660771" cy="4828896"/>
          </a:xfrm>
          <a:prstGeom prst="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549693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5507168" y="169265"/>
            <a:ext cx="63434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ОРТТЫҚ ІС-ШАРАЛАР</a:t>
            </a:r>
          </a:p>
        </p:txBody>
      </p:sp>
      <p:sp>
        <p:nvSpPr>
          <p:cNvPr id="9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016" y="877635"/>
            <a:ext cx="4195997" cy="2524432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5" name="Прямоугольник 14"/>
          <p:cNvSpPr/>
          <p:nvPr/>
        </p:nvSpPr>
        <p:spPr>
          <a:xfrm>
            <a:off x="160226" y="3420291"/>
            <a:ext cx="364548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UN CLUB 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 </a:t>
            </a:r>
          </a:p>
          <a:p>
            <a:pPr algn="ctr"/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збен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ге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гір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</a:p>
          <a:p>
            <a:pPr algn="ctr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-да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гіру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лубы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ды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93574" y="1968441"/>
            <a:ext cx="4138292" cy="250299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2903" y="3439862"/>
            <a:ext cx="4107721" cy="2385831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8" name="TextBox 17"/>
          <p:cNvSpPr txBox="1"/>
          <p:nvPr/>
        </p:nvSpPr>
        <p:spPr>
          <a:xfrm>
            <a:off x="4121715" y="4670572"/>
            <a:ext cx="34536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стана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III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rity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ruk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rathon-2025»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ырымдылық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рафонына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ты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62036" y="5883111"/>
            <a:ext cx="31801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МХЗ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тау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naily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rathon-2025»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ырымдылық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рафонына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ты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58076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5848544" y="57587"/>
            <a:ext cx="63434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ОРТТЫҚ ІС-ШАРАЛАР: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ПМХЗ КУБОГІ» ЖЫЛ САЙЫНҒЫ ТУРНИРІ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1925" y="2994835"/>
            <a:ext cx="41938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кетбол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урнир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«ПМХЗ» ЖШС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«Алюминий Казахстана» АҚ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қсу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ерроқорытпа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уыты</a:t>
            </a:r>
            <a:endParaRPr lang="ru-RU" sz="140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623052" y="3174527"/>
            <a:ext cx="5227572" cy="16665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олейбол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урнир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«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зТрансОйл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АҚ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қсу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ерроқорытпа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уыты</a:t>
            </a:r>
            <a:endParaRPr lang="ru-RU" sz="140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ПМХЗ» ЖШС</a:t>
            </a:r>
          </a:p>
          <a:p>
            <a:pPr algn="ctr">
              <a:lnSpc>
                <a:spcPct val="150000"/>
              </a:lnSpc>
            </a:pPr>
            <a:endParaRPr lang="ru-RU" sz="140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51" y="703918"/>
            <a:ext cx="4622755" cy="239527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689" y="703918"/>
            <a:ext cx="4357123" cy="2438917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9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451" y="4405118"/>
            <a:ext cx="4784988" cy="245288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2" name="Прямоугольник 11"/>
          <p:cNvSpPr/>
          <p:nvPr/>
        </p:nvSpPr>
        <p:spPr>
          <a:xfrm>
            <a:off x="6686176" y="5111420"/>
            <a:ext cx="534849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ағы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футбол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турнир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«</a:t>
            </a:r>
            <a:r>
              <a:rPr lang="en-US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QTJ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ЖШС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«КСП Сталь» АҚ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ПНК-ПВ</a:t>
            </a:r>
          </a:p>
          <a:p>
            <a:pPr>
              <a:lnSpc>
                <a:spcPct val="150000"/>
              </a:lnSpc>
            </a:pPr>
            <a:endParaRPr lang="ru-RU" sz="140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2573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06672" y="159610"/>
            <a:ext cx="53853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ТКІЗІЛГЕН ЖАЖ ТУРАЛЫ ЖАЛПЫ АҚПАРАТ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886984"/>
              </p:ext>
            </p:extLst>
          </p:nvPr>
        </p:nvGraphicFramePr>
        <p:xfrm>
          <a:off x="6176448" y="811208"/>
          <a:ext cx="5889611" cy="38074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2754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1716857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өндеуге</a:t>
                      </a:r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тысқан</a:t>
                      </a:r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рдігерлік</a:t>
                      </a:r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йымдардың</a:t>
                      </a:r>
                      <a:r>
                        <a:rPr lang="ru-RU" sz="1400" b="1" i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1" kern="1200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і</a:t>
                      </a:r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 саны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en-US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AVC Production»</a:t>
                      </a:r>
                      <a:r>
                        <a:rPr lang="kk-KZ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ЖШС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ПКО 2.0)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0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613492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Ф, Челябинск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аласындағы</a:t>
                      </a:r>
                      <a:r>
                        <a:rPr lang="ru-RU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ралэнергомаш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ЖШҚ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091354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Ф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әскеу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аласындағы</a:t>
                      </a:r>
                      <a:r>
                        <a:rPr lang="ru-RU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СПМК Холдинг»</a:t>
                      </a:r>
                      <a:r>
                        <a:rPr lang="ru-RU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ЖШҚ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747660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Р, Новополоцк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қаласындағы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«ЛИГМОД» ЖШҚ 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881938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нтр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ервистік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мпаниясы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ЖШС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253323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емСтройМонтажУниверсал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- «РСМУ» ЖШС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737063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НПО Дефектоскопия» ЖШС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204938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«НИЦ</a:t>
                      </a:r>
                      <a:r>
                        <a:rPr lang="ru-RU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KRD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ЖШС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214345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marL="180000" algn="r" fontAlgn="b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ИЫНЫ, </a:t>
                      </a:r>
                      <a:r>
                        <a:rPr lang="ru-RU" sz="12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дам</a:t>
                      </a: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4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1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109825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0" y="715232"/>
            <a:ext cx="5818909" cy="6724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30"/>
              </a:spcBef>
            </a:pP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іріспе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өлім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lang="en-US" sz="13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спарл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қтатып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ЖАЖ – 30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үнтізбелік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ү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ЛК-6У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ыны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қтат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 басы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.06.25ж.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 С-100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жиміне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ығ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.07.25ж.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300" i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ru-RU" sz="1300" i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стеден</a:t>
            </a:r>
            <a:r>
              <a:rPr lang="ru-RU" sz="1300" i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sz="1300" i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әулікке</a:t>
            </a:r>
            <a:r>
              <a:rPr lang="ru-RU" sz="1300" i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i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ға</a:t>
            </a:r>
            <a:r>
              <a:rPr lang="ru-RU" sz="1300" i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кету)</a:t>
            </a:r>
          </a:p>
          <a:p>
            <a:pPr>
              <a:spcBef>
                <a:spcPts val="330"/>
              </a:spcBef>
            </a:pP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қсатына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л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ткізілді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!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marL="180000" indent="-171450">
              <a:spcBef>
                <a:spcPts val="330"/>
              </a:spcBef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уіпсіз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затайым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қиғаларсыз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далды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Bef>
                <a:spcPts val="330"/>
              </a:spcBef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еркәсіптік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уіпсіздік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лаптар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қталды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Bef>
                <a:spcPts val="330"/>
              </a:spcBef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стеде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ұ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яқталды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Bef>
                <a:spcPts val="330"/>
              </a:spcBef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ы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спарланға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өлемдер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далд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marL="180000">
              <a:spcAft>
                <a:spcPts val="600"/>
              </a:spcAft>
            </a:pP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ындалған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дың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рілендірілген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ізбесі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ппараттард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уәландыруға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йында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 б.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штерд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серуге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айында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 б.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бырлард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30 б. (140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.м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)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еросинд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ГТ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тализаторла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9,9 тонна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, МКТӨ, АМҚӨӨ-да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ика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 аппарат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мастырғыштарды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быр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умала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 б.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инамикалық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грегат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 СҚГ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лісі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елі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лонналарды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шкі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рылғыла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7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герме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2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птама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штерді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ұрма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иберлері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б.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КӨҚ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ті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ржала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ҚҚ</a:t>
            </a:r>
            <a:r>
              <a:rPr lang="ru-RU" sz="13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б.;</a:t>
            </a:r>
          </a:p>
          <a:p>
            <a:pPr marL="18000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БӨӨ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штерінің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тықтары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 б.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650314"/>
              </p:ext>
            </p:extLst>
          </p:nvPr>
        </p:nvGraphicFramePr>
        <p:xfrm>
          <a:off x="6073791" y="5158259"/>
          <a:ext cx="5993337" cy="14104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3122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2123122">
                  <a:extLst>
                    <a:ext uri="{9D8B030D-6E8A-4147-A177-3AD203B41FA5}">
                      <a16:colId xmlns:a16="http://schemas.microsoft.com/office/drawing/2014/main" val="820999022"/>
                    </a:ext>
                  </a:extLst>
                </a:gridCol>
                <a:gridCol w="1747093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35280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артылған</a:t>
                      </a:r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мобильдік</a:t>
                      </a:r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рнайы</a:t>
                      </a:r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техника саны</a:t>
                      </a:r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1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уралы</a:t>
                      </a:r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i="1" kern="1200" baseline="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қпарат</a:t>
                      </a:r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крандар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мұнаралар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 err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техника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250674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507961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4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Жиыны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80000" algn="ctr" fontAlgn="b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 </a:t>
                      </a:r>
                      <a:r>
                        <a:rPr lang="ru-RU" sz="1400" b="1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ірлік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71116"/>
                  </a:ext>
                </a:extLst>
              </a:tr>
            </a:tbl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8" y="159610"/>
            <a:ext cx="2037579" cy="389016"/>
          </a:xfrm>
          <a:prstGeom prst="rect">
            <a:avLst/>
          </a:prstGeom>
        </p:spPr>
      </p:pic>
      <p:sp>
        <p:nvSpPr>
          <p:cNvPr id="13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66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6428524" y="56157"/>
            <a:ext cx="57046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ҚТАТЫП ЖӨНДЕУ ЖҰМЫСТАРЫ БОЙЫНША ФОТОЕСЕП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84594" y="1536429"/>
            <a:ext cx="34798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тапқ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інд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ЭЛОУ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ме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ұзсыздандыр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усыздандыр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лог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ыны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енімділігі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дел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ЭГ-160-18, </a:t>
            </a:r>
            <a:r>
              <a:rPr lang="en-US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-160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3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егидраторларыны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8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ірліг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ыл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ылға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бдықты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лмағ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512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ннан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8" y="159610"/>
            <a:ext cx="2037579" cy="38901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340" y="1149718"/>
            <a:ext cx="3810476" cy="228977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5953" y="1128340"/>
            <a:ext cx="3807428" cy="233252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0" name="Прямоугольник 9"/>
          <p:cNvSpPr/>
          <p:nvPr/>
        </p:nvSpPr>
        <p:spPr>
          <a:xfrm>
            <a:off x="184594" y="4558837"/>
            <a:ext cx="406467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імдері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паундирле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ие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ұйылтылға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аздар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ркінд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4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ыйым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ыдыс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ыл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-11, Е-12, Е-14, Е-15 поз.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ыйым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ыдыстар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ропан-пропилен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ракциясы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былдауға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ыйым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ыдысты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өлем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-200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3,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иаметр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400 мм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398" y="3687618"/>
            <a:ext cx="3626344" cy="308880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021" y="3668034"/>
            <a:ext cx="3634548" cy="310838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3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499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422229" y="3773595"/>
            <a:ext cx="58272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МҚӨӨ баяулатып кокстеу қондырғысында Н-2 поз. (типі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К-560/335-180В-2б</a:t>
            </a: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 </a:t>
            </a:r>
          </a:p>
          <a:p>
            <a:pPr>
              <a:spcAft>
                <a:spcPts val="0"/>
              </a:spcAft>
            </a:pP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акуумдық газойльге шикізат (мазут) беруге арналған сорғы ауыстырылды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11196" y="775813"/>
            <a:ext cx="5816016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ТӨӨ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талитикалық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крекинг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ктификациялау</a:t>
            </a:r>
            <a:r>
              <a:rPr lang="ru-RU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ндырғысында</a:t>
            </a:r>
            <a:endParaRPr lang="ru-RU" sz="1100" b="1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kk-KZ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-208/р поз. (типі СНР 150-100-250) жеңіл айналымдық газойлінің айналымдық </a:t>
            </a:r>
          </a:p>
          <a:p>
            <a:pPr>
              <a:spcAft>
                <a:spcPts val="0"/>
              </a:spcAft>
            </a:pPr>
            <a:r>
              <a:rPr lang="kk-KZ" sz="1100" b="1" dirty="0">
                <a:solidFill>
                  <a:srgbClr val="00336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рғысы ауыстырылды</a:t>
            </a:r>
            <a:endParaRPr lang="ru-RU" sz="1100" b="1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249465" y="3710220"/>
            <a:ext cx="613367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МҚӨӨ битум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ндырғысынд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-10 поз. (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ипі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К-65/35-125В-1а)</a:t>
            </a:r>
          </a:p>
          <a:p>
            <a:pPr>
              <a:spcAft>
                <a:spcPts val="0"/>
              </a:spcAft>
            </a:pP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ндырғыда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450-500 ⁰С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ракциян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йдау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К-2, К-3, К-4-ке беру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рғыс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ылд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469345" y="796949"/>
            <a:ext cx="5461752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МҚӨӨ битум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ндырғысынд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-9 поз. (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ипі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НКВ-560/335-120В-2) </a:t>
            </a:r>
          </a:p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І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йналымдық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уараты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50-450 ⁰С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ракциясы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йдау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рғыс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ыстырылды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8" y="159610"/>
            <a:ext cx="2037579" cy="38901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6" y="1397113"/>
            <a:ext cx="4065815" cy="231310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345" y="1369737"/>
            <a:ext cx="4065815" cy="231310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5" y="4373759"/>
            <a:ext cx="4065815" cy="231310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463" y="4310384"/>
            <a:ext cx="4065815" cy="2419936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6428524" y="56157"/>
            <a:ext cx="57046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ҚТАТЫП ЖӨНДЕУ ЖҰМЫСТАРЫ БОЙЫНША ФОТОЕСЕП</a:t>
            </a:r>
          </a:p>
        </p:txBody>
      </p:sp>
      <p:sp>
        <p:nvSpPr>
          <p:cNvPr id="18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162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888509" y="195477"/>
            <a:ext cx="81810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ҰЙЫҚҚОЙМАЛАРДЫ ЖӨНДЕУ БОЙЫНША ЖҰМЫСТАРДЫҢ ФОТОЕСЕБІ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64443" y="1308192"/>
            <a:ext cx="313663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ҰЙЫҚҚОЙМАЛАРДЫ ЖӨНДЕ</a:t>
            </a:r>
          </a:p>
          <a:p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 </a:t>
            </a:r>
            <a:r>
              <a:rPr lang="ru-RU" sz="12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шық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імдер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БАС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часкесіні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7-5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ркіні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Р-1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Р-2 поз.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ұйыққоймаларын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үрделі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өнде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ЙЫНША ЖҰМЫСТАРДЫҢ ФОТОЕСЕБІСҰЙЫҚҚОЙМАЛАРДЫ ЖӨНДЕУ БОЙЫНША ЖҰМЫСТАРДЫҢ ФОТОЕСЕБІ</a:t>
            </a:r>
          </a:p>
          <a:p>
            <a:pPr algn="r"/>
            <a:endParaRPr lang="ru-RU" sz="12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980" y="962860"/>
            <a:ext cx="3504985" cy="2943424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399" y="4127700"/>
            <a:ext cx="3886283" cy="255836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41" y="853219"/>
            <a:ext cx="3741404" cy="316270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718" y="4082902"/>
            <a:ext cx="3887121" cy="2647965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5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247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211444" y="880432"/>
            <a:ext cx="67633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КІМ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Мұнайды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бастапқы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ңдеу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өндірісінің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ҒжәнеҚ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қасбеттерін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өндеу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, </a:t>
            </a:r>
          </a:p>
          <a:p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операторлық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йын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, ӘТК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әрлеу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ы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лғасып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тыр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 </a:t>
            </a:r>
            <a:endParaRPr lang="ru-RU" sz="1200" b="1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ІЛІК-ТҰРМЫСТЫҚ КЕШЕНДЕРДІ ЖӨНДЕУ БОЙЫНША ЖҰМЫСТАРДЫҢ ФОТОЕСЕБІ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69" y="1626781"/>
            <a:ext cx="2654359" cy="243595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299" y="1626780"/>
            <a:ext cx="2705119" cy="243595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489" y="1547496"/>
            <a:ext cx="3127125" cy="239717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1329" y="4179361"/>
            <a:ext cx="3123285" cy="246598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298" y="4158117"/>
            <a:ext cx="2705119" cy="2487232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68" y="4158118"/>
            <a:ext cx="2654359" cy="248723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696750" y="28703"/>
            <a:ext cx="82404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КІМШІЛІК-ТҰРМЫСТЫҚ КЕШЕНДЕРДІ ЖӨНДЕУ БОЙЫНША ЖҰМЫСТАРДЫҢ ФОТОЕСЕБІ</a:t>
            </a:r>
          </a:p>
        </p:txBody>
      </p:sp>
      <p:sp>
        <p:nvSpPr>
          <p:cNvPr id="14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779853" y="816936"/>
            <a:ext cx="3252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5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ыл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«ПМХЗ» ЖШС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умағында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оршаулар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ңарт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ұмыстар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лғасуда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3685" y="1488814"/>
            <a:ext cx="2992045" cy="2440465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614" y="4297461"/>
            <a:ext cx="3137915" cy="229794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194797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892698" y="28703"/>
            <a:ext cx="82404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КІМШІЛІК-ТҰРМЫСТЫҚ КЕШЕНДЕРДІ ЖӨНДЕУ БОЙЫНША ЖҰМЫСТАРДЫҢ ФОТОЕСЕБІ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88" y="68743"/>
            <a:ext cx="2037579" cy="5523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62" y="1317384"/>
            <a:ext cx="2612157" cy="2531604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545" y="1317384"/>
            <a:ext cx="2647506" cy="242527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9051" y="1285155"/>
            <a:ext cx="2713138" cy="242527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29" name="TextBox 28"/>
          <p:cNvSpPr txBox="1"/>
          <p:nvPr/>
        </p:nvSpPr>
        <p:spPr>
          <a:xfrm>
            <a:off x="841239" y="845091"/>
            <a:ext cx="64484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ӘКІМШ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Электрмен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бдықтау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цехының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ӘТК-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інде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санитариялық-тұрмыстық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</a:p>
          <a:p>
            <a:pPr algn="ctr"/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ғдайды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қсарту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.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лғасуда</a:t>
            </a:r>
            <a:endParaRPr lang="ru-RU" sz="1200" b="1" dirty="0">
              <a:solidFill>
                <a:srgbClr val="00336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ЛІК-ТҰРМЫСТЫҚ КЕШЕНДЕРДІ ЖӨНДЕУ БОЙЫНША ЖҰМЫСТАРДЫҢ ФОТОЕСЕБІ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30204" y="3884449"/>
            <a:ext cx="66848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ҮБӨАжәнеА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хының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ӘТК-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інде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нитариялық-тұрмыстық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ұмыстар</a:t>
            </a:r>
            <a:r>
              <a:rPr lang="ru-RU" sz="1200" b="1" dirty="0">
                <a:solidFill>
                  <a:srgbClr val="003366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003366"/>
                </a:solidFill>
                <a:latin typeface="Century Gothic" panose="020B0502020202020204" pitchFamily="34" charset="0"/>
              </a:rPr>
              <a:t>жалғасуда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62" y="4220508"/>
            <a:ext cx="2481599" cy="2486730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551" y="4274368"/>
            <a:ext cx="2594345" cy="2432870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392" y="4320554"/>
            <a:ext cx="2683797" cy="2434656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6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522207" y="861205"/>
            <a:ext cx="36109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сханада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нитариялық-тұрмыстық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қсарту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Рисунок 4" descr="image00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844" y="1285155"/>
            <a:ext cx="2848382" cy="1759560"/>
          </a:xfrm>
          <a:prstGeom prst="rect">
            <a:avLst/>
          </a:prstGeom>
          <a:noFill/>
          <a:ln>
            <a:noFill/>
          </a:ln>
          <a:effectLst>
            <a:glow rad="101600">
              <a:schemeClr val="bg1">
                <a:alpha val="40000"/>
              </a:schemeClr>
            </a:glo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3825" y="3109450"/>
            <a:ext cx="3007742" cy="169937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476" y="4873559"/>
            <a:ext cx="3072886" cy="173618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675263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25</TotalTime>
  <Words>5555</Words>
  <Application>Microsoft Office PowerPoint</Application>
  <PresentationFormat>Широкоэкранный</PresentationFormat>
  <Paragraphs>1516</Paragraphs>
  <Slides>39</Slides>
  <Notes>3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8" baseType="lpstr">
      <vt:lpstr>Arial</vt:lpstr>
      <vt:lpstr>Calibri</vt:lpstr>
      <vt:lpstr>Calibri Light</vt:lpstr>
      <vt:lpstr>Century Gothic</vt:lpstr>
      <vt:lpstr>Open Sans Light</vt:lpstr>
      <vt:lpstr>Times New Roman</vt:lpstr>
      <vt:lpstr>Wingdings</vt:lpstr>
      <vt:lpstr>Тема Office</vt:lpstr>
      <vt:lpstr>Слайд think-cell</vt:lpstr>
      <vt:lpstr>2025 ЖЫЛҒЫ І ЖАРТЫЖЫЛДЫҚТАҒЫ «ПМХЗ» ЖШС ЖҰМЫС ҚОРЫТЫНДЫЛАРЫ ТУРАЛЫ ЕСЕП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зюра Ольга Викторовна</dc:creator>
  <cp:lastModifiedBy>Еспаева Гульнара Кудайбергеновна</cp:lastModifiedBy>
  <cp:revision>998</cp:revision>
  <cp:lastPrinted>2025-08-19T05:41:33Z</cp:lastPrinted>
  <dcterms:created xsi:type="dcterms:W3CDTF">2022-08-12T02:43:43Z</dcterms:created>
  <dcterms:modified xsi:type="dcterms:W3CDTF">2025-09-19T11:23:48Z</dcterms:modified>
</cp:coreProperties>
</file>